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076136732" r:id="rId2"/>
    <p:sldId id="2076136724" r:id="rId3"/>
    <p:sldId id="207613730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1F0F0"/>
    <a:srgbClr val="243A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5" autoAdjust="0"/>
    <p:restoredTop sz="94660"/>
  </p:normalViewPr>
  <p:slideViewPr>
    <p:cSldViewPr snapToGrid="0">
      <p:cViewPr>
        <p:scale>
          <a:sx n="66" d="100"/>
          <a:sy n="66" d="100"/>
        </p:scale>
        <p:origin x="918" y="5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CD2336-6732-4048-AD80-EDE07225A88C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61BF24-DA51-4485-8DDC-03FB182D1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3966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2D3714-B553-A044-BA72-366907BA36B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4830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2D3714-B553-A044-BA72-366907BA36B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7668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 Microsoft modern data warehouse allows you bring together all your organization’s data at any scale.</a:t>
            </a:r>
          </a:p>
          <a:p>
            <a:endParaRPr lang="en-US"/>
          </a:p>
          <a:p>
            <a:r>
              <a:rPr lang="en-US"/>
              <a:t>It allows you to provide insights through analytical dashboards, operational reports, or advanced analytics to all of your users. </a:t>
            </a:r>
          </a:p>
          <a:p>
            <a:endParaRPr lang="en-US"/>
          </a:p>
          <a:p>
            <a:r>
              <a:rPr lang="en-US"/>
              <a:t>Dynamics 365 for Finance and Supply Chain provides the foundational framework to publish directly into Azure Data Lake Storage, which serves as the store for all of your data.</a:t>
            </a:r>
          </a:p>
          <a:p>
            <a:pPr marL="0" indent="0" defTabSz="933172">
              <a:buFont typeface="Arial" panose="020B0604020202020204" pitchFamily="34" charset="0"/>
              <a:buNone/>
              <a:defRPr/>
            </a:pPr>
            <a:endParaRPr lang="en-US" sz="120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3/2021 3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513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6AF4F17-0C15-4770-83D5-3B8372CF7B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rtlCol="1" anchor="b"/>
          <a:lstStyle>
            <a:lvl1pPr algn="ctr" rtl="1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0ED6CE-56C9-47A6-84C4-9D40C4DF91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 rtlCol="1"/>
          <a:lstStyle>
            <a:lvl1pPr marL="0" indent="0" algn="ctr" rtl="1">
              <a:buNone/>
              <a:defRPr sz="2400"/>
            </a:lvl1pPr>
            <a:lvl2pPr marL="457200" indent="0" algn="ctr" rtl="1">
              <a:buNone/>
              <a:defRPr sz="2000"/>
            </a:lvl2pPr>
            <a:lvl3pPr marL="914400" indent="0" algn="ctr" rtl="1">
              <a:buNone/>
              <a:defRPr sz="1800"/>
            </a:lvl3pPr>
            <a:lvl4pPr marL="1371600" indent="0" algn="ctr" rtl="1">
              <a:buNone/>
              <a:defRPr sz="1600"/>
            </a:lvl4pPr>
            <a:lvl5pPr marL="1828800" indent="0" algn="ctr" rtl="1">
              <a:buNone/>
              <a:defRPr sz="1600"/>
            </a:lvl5pPr>
            <a:lvl6pPr marL="2286000" indent="0" algn="ctr" rtl="1">
              <a:buNone/>
              <a:defRPr sz="1600"/>
            </a:lvl6pPr>
            <a:lvl7pPr marL="2743200" indent="0" algn="ctr" rtl="1">
              <a:buNone/>
              <a:defRPr sz="1600"/>
            </a:lvl7pPr>
            <a:lvl8pPr marL="3200400" indent="0" algn="ctr" rtl="1">
              <a:buNone/>
              <a:defRPr sz="1600"/>
            </a:lvl8pPr>
            <a:lvl9pPr marL="3657600" indent="0" algn="ctr" rtl="1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E6E4976-16C7-4AD4-9533-5E56B30526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48B6DD1C-EA95-45A9-ABE6-45EF60A76DA2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49E2587-6E51-41E3-91C6-3746604F4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334CE20-299D-4673-A0E4-60943B4480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0A84A476-68C6-4DC7-B00E-9CFB81867C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8037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941FE0B-F81B-4CBC-B7AC-8804DDA98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AC177AAD-2D6B-4070-B013-54E52A9E01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939AEAC-D6A3-4FC5-90FF-F92076B108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48B6DD1C-EA95-45A9-ABE6-45EF60A76DA2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553A326-A70A-40EE-AA25-A1E7041D1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7480802-D3E3-48F2-8C75-33C07D12C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0A84A476-68C6-4DC7-B00E-9CFB81867C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798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3813BE05-AB88-4734-91BC-CF0D6F7E6E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E4B4A75C-E1ED-48F2-906F-1236A0083A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E688FAF-AE1F-4385-90BC-CAAD6A3A2E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48B6DD1C-EA95-45A9-ABE6-45EF60A76DA2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A14DFC3-80EE-4733-B7EF-0617F58267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E1E6607-FDA9-494C-B6B8-4EF838352B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0A84A476-68C6-4DC7-B00E-9CFB81867C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8866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91000B3-5684-4E06-A68F-3759BB7A7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680567"/>
            <a:ext cx="11018520" cy="492443"/>
          </a:xfrm>
        </p:spPr>
        <p:txBody>
          <a:bodyPr rtlCol="1"/>
          <a:lstStyle>
            <a:lvl1pPr algn="ctr" rtl="1">
              <a:defRPr kumimoji="0" lang="en-US" sz="3200" b="0" i="0" u="none" strike="noStrike" kern="1200" cap="none" spc="-50" normalizeH="0" baseline="0" smtClean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4737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2A3DFE0-B300-453A-AD50-D55D07CFE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0AD71B1-0B31-4A5C-9049-9095E4B291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C17478D-3775-4A17-9F9A-B216600CA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48B6DD1C-EA95-45A9-ABE6-45EF60A76DA2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F2EEDF4-7F84-4FA4-8346-A0815E04AE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BCE1878-7606-4E73-A4E2-8615C761B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0A84A476-68C6-4DC7-B00E-9CFB81867C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7201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0B1AC37-BC0D-4349-855D-EB5105DB4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rtlCol="1" anchor="b"/>
          <a:lstStyle>
            <a:lvl1pPr algn="r" rtl="1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50D0822-F790-45BA-834B-5809A32059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 rtlCol="1"/>
          <a:lstStyle>
            <a:lvl1pPr marL="0" indent="0" algn="r" rtl="1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r" rtl="1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r" rtl="1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r" rtl="1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417C81E-833C-44CE-84C2-B130292271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48B6DD1C-EA95-45A9-ABE6-45EF60A76DA2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57044B4-D27C-4AAA-BEA5-048EFA20D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26FB2CB-04F8-4922-BB9F-4A70B82EF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0A84A476-68C6-4DC7-B00E-9CFB81867C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6022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7BBD2A8-5FDD-49C9-9B01-AE0DE5812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3463CAD-AC58-49BF-A81B-9344108832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1A8F1C3D-D0D6-4338-8C3F-E79D3FD6CB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D70C0166-954B-47A7-8EA2-3B4D2ED14C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48B6DD1C-EA95-45A9-ABE6-45EF60A76DA2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1F77DD42-CA19-4C7F-8B66-DB9B9171E0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7A514C5-E483-4765-B936-556492574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0A84A476-68C6-4DC7-B00E-9CFB81867C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3994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FB3D14-9FA0-49DB-B9A9-FE13F96CB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91ECDAC-6DFB-46FC-9152-FB410E995B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rtlCol="1" anchor="b"/>
          <a:lstStyle>
            <a:lvl1pPr marL="0" indent="0" algn="r" rtl="1">
              <a:buNone/>
              <a:defRPr sz="2400" b="1"/>
            </a:lvl1pPr>
            <a:lvl2pPr marL="457200" indent="0" algn="r" rtl="1">
              <a:buNone/>
              <a:defRPr sz="2000" b="1"/>
            </a:lvl2pPr>
            <a:lvl3pPr marL="914400" indent="0" algn="r" rtl="1">
              <a:buNone/>
              <a:defRPr sz="1800" b="1"/>
            </a:lvl3pPr>
            <a:lvl4pPr marL="1371600" indent="0" algn="r" rtl="1">
              <a:buNone/>
              <a:defRPr sz="1600" b="1"/>
            </a:lvl4pPr>
            <a:lvl5pPr marL="1828800" indent="0" algn="r" rtl="1">
              <a:buNone/>
              <a:defRPr sz="1600" b="1"/>
            </a:lvl5pPr>
            <a:lvl6pPr marL="2286000" indent="0" algn="r" rtl="1">
              <a:buNone/>
              <a:defRPr sz="1600" b="1"/>
            </a:lvl6pPr>
            <a:lvl7pPr marL="2743200" indent="0" algn="r" rtl="1">
              <a:buNone/>
              <a:defRPr sz="1600" b="1"/>
            </a:lvl7pPr>
            <a:lvl8pPr marL="3200400" indent="0" algn="r" rtl="1">
              <a:buNone/>
              <a:defRPr sz="1600" b="1"/>
            </a:lvl8pPr>
            <a:lvl9pPr marL="3657600" indent="0" algn="r" rtl="1">
              <a:buNone/>
              <a:defRPr sz="1600" b="1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9904ED6-7813-4D9F-BA25-826949FDCB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7A45CAFB-6140-42A4-B568-38BC79D1B2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rtlCol="1" anchor="b"/>
          <a:lstStyle>
            <a:lvl1pPr marL="0" indent="0" algn="r" rtl="1">
              <a:buNone/>
              <a:defRPr sz="2400" b="1"/>
            </a:lvl1pPr>
            <a:lvl2pPr marL="457200" indent="0" algn="r" rtl="1">
              <a:buNone/>
              <a:defRPr sz="2000" b="1"/>
            </a:lvl2pPr>
            <a:lvl3pPr marL="914400" indent="0" algn="r" rtl="1">
              <a:buNone/>
              <a:defRPr sz="1800" b="1"/>
            </a:lvl3pPr>
            <a:lvl4pPr marL="1371600" indent="0" algn="r" rtl="1">
              <a:buNone/>
              <a:defRPr sz="1600" b="1"/>
            </a:lvl4pPr>
            <a:lvl5pPr marL="1828800" indent="0" algn="r" rtl="1">
              <a:buNone/>
              <a:defRPr sz="1600" b="1"/>
            </a:lvl5pPr>
            <a:lvl6pPr marL="2286000" indent="0" algn="r" rtl="1">
              <a:buNone/>
              <a:defRPr sz="1600" b="1"/>
            </a:lvl6pPr>
            <a:lvl7pPr marL="2743200" indent="0" algn="r" rtl="1">
              <a:buNone/>
              <a:defRPr sz="1600" b="1"/>
            </a:lvl7pPr>
            <a:lvl8pPr marL="3200400" indent="0" algn="r" rtl="1">
              <a:buNone/>
              <a:defRPr sz="1600" b="1"/>
            </a:lvl8pPr>
            <a:lvl9pPr marL="3657600" indent="0" algn="r" rtl="1">
              <a:buNone/>
              <a:defRPr sz="1600" b="1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A6047B9E-B4EA-438E-9035-FDE4D7F3FE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 rtlCol="1"/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ABEA9AC0-6941-4D81-BAB1-3FB1AEBD63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48B6DD1C-EA95-45A9-ABE6-45EF60A76DA2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649A1813-054E-4F46-B40C-06FE95DAF7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61E11D9-CBE1-470C-8870-B18FF4C9E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0A84A476-68C6-4DC7-B00E-9CFB81867C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973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92B9AE2-1676-494E-8670-3BB934949E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44DB4C0D-A64C-452C-8C47-3A91C49EDD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48B6DD1C-EA95-45A9-ABE6-45EF60A76DA2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F68BEC8-8B4A-439D-A6F7-2A2246D0F0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732C4FB6-DE52-43D9-92F3-D1A014B6C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0A84A476-68C6-4DC7-B00E-9CFB81867C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578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292FF06A-7A7D-4E23-BA65-0044381BBE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48B6DD1C-EA95-45A9-ABE6-45EF60A76DA2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527DBFC9-1FAF-4FA7-903C-7AD82DD29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4864F3A-08F7-414B-967C-FBCFB8856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0A84A476-68C6-4DC7-B00E-9CFB81867C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908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6B3E14-CCF9-44C9-A7FA-A8BDCFCD3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rtlCol="1" anchor="b"/>
          <a:lstStyle>
            <a:lvl1pPr algn="r" rtl="1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C38BD2B-E15F-43BB-8161-C540F95AC7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 rtlCol="1"/>
          <a:lstStyle>
            <a:lvl1pPr algn="r" rtl="1">
              <a:defRPr sz="3200"/>
            </a:lvl1pPr>
            <a:lvl2pPr algn="r" rtl="1">
              <a:defRPr sz="2800"/>
            </a:lvl2pPr>
            <a:lvl3pPr algn="r" rtl="1">
              <a:defRPr sz="2400"/>
            </a:lvl3pPr>
            <a:lvl4pPr algn="r" rtl="1">
              <a:defRPr sz="2000"/>
            </a:lvl4pPr>
            <a:lvl5pPr algn="r" rtl="1">
              <a:defRPr sz="2000"/>
            </a:lvl5pPr>
            <a:lvl6pPr algn="r" rtl="1">
              <a:defRPr sz="2000"/>
            </a:lvl6pPr>
            <a:lvl7pPr algn="r" rtl="1">
              <a:defRPr sz="2000"/>
            </a:lvl7pPr>
            <a:lvl8pPr algn="r" rtl="1">
              <a:defRPr sz="2000"/>
            </a:lvl8pPr>
            <a:lvl9pPr algn="r" rtl="1">
              <a:defRPr sz="2000"/>
            </a:lvl9pPr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1C756A5-88E1-43D1-B671-AF65A9FB30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 rtlCol="1"/>
          <a:lstStyle>
            <a:lvl1pPr marL="0" indent="0" algn="r" rtl="1">
              <a:buNone/>
              <a:defRPr sz="1600"/>
            </a:lvl1pPr>
            <a:lvl2pPr marL="457200" indent="0" algn="r" rtl="1">
              <a:buNone/>
              <a:defRPr sz="1400"/>
            </a:lvl2pPr>
            <a:lvl3pPr marL="914400" indent="0" algn="r" rtl="1">
              <a:buNone/>
              <a:defRPr sz="1200"/>
            </a:lvl3pPr>
            <a:lvl4pPr marL="1371600" indent="0" algn="r" rtl="1">
              <a:buNone/>
              <a:defRPr sz="1000"/>
            </a:lvl4pPr>
            <a:lvl5pPr marL="1828800" indent="0" algn="r" rtl="1">
              <a:buNone/>
              <a:defRPr sz="1000"/>
            </a:lvl5pPr>
            <a:lvl6pPr marL="2286000" indent="0" algn="r" rtl="1">
              <a:buNone/>
              <a:defRPr sz="1000"/>
            </a:lvl6pPr>
            <a:lvl7pPr marL="2743200" indent="0" algn="r" rtl="1">
              <a:buNone/>
              <a:defRPr sz="1000"/>
            </a:lvl7pPr>
            <a:lvl8pPr marL="3200400" indent="0" algn="r" rtl="1">
              <a:buNone/>
              <a:defRPr sz="1000"/>
            </a:lvl8pPr>
            <a:lvl9pPr marL="3657600" indent="0" algn="r" rtl="1">
              <a:buNone/>
              <a:defRPr sz="1000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9C1F903-973F-4394-B0BD-2FDE1A6BBE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48B6DD1C-EA95-45A9-ABE6-45EF60A76DA2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337DB42-5A28-44A5-AF05-986CE0A37D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2F1796C-0E0E-40E5-A406-ADF905D14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0A84A476-68C6-4DC7-B00E-9CFB81867C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3587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D18809-144F-4E98-8AA3-5DF8D9BCE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rtlCol="1" anchor="b"/>
          <a:lstStyle>
            <a:lvl1pPr algn="r" rtl="1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D7E45AB4-5421-4AD2-A5A3-13846D72D1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1"/>
          <a:lstStyle>
            <a:lvl1pPr marL="0" indent="0" algn="r" rtl="1">
              <a:buNone/>
              <a:defRPr sz="3200"/>
            </a:lvl1pPr>
            <a:lvl2pPr marL="457200" indent="0" algn="r" rtl="1">
              <a:buNone/>
              <a:defRPr sz="2800"/>
            </a:lvl2pPr>
            <a:lvl3pPr marL="914400" indent="0" algn="r" rtl="1">
              <a:buNone/>
              <a:defRPr sz="2400"/>
            </a:lvl3pPr>
            <a:lvl4pPr marL="1371600" indent="0" algn="r" rtl="1">
              <a:buNone/>
              <a:defRPr sz="2000"/>
            </a:lvl4pPr>
            <a:lvl5pPr marL="1828800" indent="0" algn="r" rtl="1">
              <a:buNone/>
              <a:defRPr sz="2000"/>
            </a:lvl5pPr>
            <a:lvl6pPr marL="2286000" indent="0" algn="r" rtl="1">
              <a:buNone/>
              <a:defRPr sz="2000"/>
            </a:lvl6pPr>
            <a:lvl7pPr marL="2743200" indent="0" algn="r" rtl="1">
              <a:buNone/>
              <a:defRPr sz="2000"/>
            </a:lvl7pPr>
            <a:lvl8pPr marL="3200400" indent="0" algn="r" rtl="1">
              <a:buNone/>
              <a:defRPr sz="2000"/>
            </a:lvl8pPr>
            <a:lvl9pPr marL="3657600" indent="0" algn="r" rtl="1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8637A99-DECD-419F-B13F-4DB405F205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 rtlCol="1"/>
          <a:lstStyle>
            <a:lvl1pPr marL="0" indent="0" algn="r" rtl="1">
              <a:buNone/>
              <a:defRPr sz="1600"/>
            </a:lvl1pPr>
            <a:lvl2pPr marL="457200" indent="0" algn="r" rtl="1">
              <a:buNone/>
              <a:defRPr sz="1400"/>
            </a:lvl2pPr>
            <a:lvl3pPr marL="914400" indent="0" algn="r" rtl="1">
              <a:buNone/>
              <a:defRPr sz="1200"/>
            </a:lvl3pPr>
            <a:lvl4pPr marL="1371600" indent="0" algn="r" rtl="1">
              <a:buNone/>
              <a:defRPr sz="1000"/>
            </a:lvl4pPr>
            <a:lvl5pPr marL="1828800" indent="0" algn="r" rtl="1">
              <a:buNone/>
              <a:defRPr sz="1000"/>
            </a:lvl5pPr>
            <a:lvl6pPr marL="2286000" indent="0" algn="r" rtl="1">
              <a:buNone/>
              <a:defRPr sz="1000"/>
            </a:lvl6pPr>
            <a:lvl7pPr marL="2743200" indent="0" algn="r" rtl="1">
              <a:buNone/>
              <a:defRPr sz="1000"/>
            </a:lvl7pPr>
            <a:lvl8pPr marL="3200400" indent="0" algn="r" rtl="1">
              <a:buNone/>
              <a:defRPr sz="1000"/>
            </a:lvl8pPr>
            <a:lvl9pPr marL="3657600" indent="0" algn="r" rtl="1">
              <a:buNone/>
              <a:defRPr sz="1000"/>
            </a:lvl9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BE41628-B09C-41B4-82DD-ADB0CCFB70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1"/>
          <a:lstStyle>
            <a:lvl1pPr algn="r" rtl="1"/>
          </a:lstStyle>
          <a:p>
            <a:fld id="{48B6DD1C-EA95-45A9-ABE6-45EF60A76DA2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99EE09A7-4AE4-4708-B1BF-2986648F0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7810742-B8B0-4A46-8126-D80C3F03E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1"/>
          <a:lstStyle>
            <a:lvl1pPr algn="r" rtl="1"/>
          </a:lstStyle>
          <a:p>
            <a:fld id="{0A84A476-68C6-4DC7-B00E-9CFB81867C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321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AE06B999-091F-448D-8F37-E57376EE9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r" rtl="1"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1376AD5-DB1A-4636-A374-BE7441C8B6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>
            <a:lvl1pPr algn="r" rtl="1"/>
          </a:lstStyle>
          <a:p>
            <a:pPr lvl="0" algn="r" rtl="1"/>
            <a:r>
              <a:rPr lang="en-US"/>
              <a:t>Click to edit Master text styles</a:t>
            </a:r>
          </a:p>
          <a:p>
            <a:pPr lvl="1" algn="r" rtl="1"/>
            <a:r>
              <a:rPr lang="en-US"/>
              <a:t>Second level</a:t>
            </a:r>
          </a:p>
          <a:p>
            <a:pPr lvl="2" algn="r" rtl="1"/>
            <a:r>
              <a:rPr lang="en-US"/>
              <a:t>Third level</a:t>
            </a:r>
          </a:p>
          <a:p>
            <a:pPr lvl="3" algn="r" rtl="1"/>
            <a:r>
              <a:rPr lang="en-US"/>
              <a:t>Fourth level</a:t>
            </a:r>
          </a:p>
          <a:p>
            <a:pPr lvl="4" algn="r" rtl="1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72F5075-01FD-4392-950B-5E8AAFD191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 rtl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B6DD1C-EA95-45A9-ABE6-45EF60A76DA2}" type="datetimeFigureOut">
              <a:rPr lang="en-US" smtClean="0"/>
              <a:t>7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9779CB5-8380-48E9-9AD4-CD741C9522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 rtl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0E434D0-9A99-4D82-B332-FCF6CFCD4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 rtl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84A476-68C6-4DC7-B00E-9CFB81867C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014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12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5.sv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eg"/><Relationship Id="rId11" Type="http://schemas.openxmlformats.org/officeDocument/2006/relationships/image" Target="../media/image10.png"/><Relationship Id="rId5" Type="http://schemas.openxmlformats.org/officeDocument/2006/relationships/image" Target="../media/image8.jpeg"/><Relationship Id="rId10" Type="http://schemas.openxmlformats.org/officeDocument/2006/relationships/image" Target="../media/image3.png"/><Relationship Id="rId4" Type="http://schemas.openxmlformats.org/officeDocument/2006/relationships/image" Target="../media/image7.png"/><Relationship Id="rId9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6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png"/><Relationship Id="rId5" Type="http://schemas.openxmlformats.org/officeDocument/2006/relationships/image" Target="../media/image14.sv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7B85EE32-5E05-41A8-AE04-111D8C2524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7B85EE32-5E05-41A8-AE04-111D8C2524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36451CD-FAE4-471A-859B-9E7B9D592C1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32472" rtl="1" fontAlgn="base">
              <a:spcBef>
                <a:spcPct val="0"/>
              </a:spcBef>
              <a:spcAft>
                <a:spcPct val="0"/>
              </a:spcAft>
            </a:pPr>
            <a:endParaRPr lang="en-US" sz="3600" err="1">
              <a:solidFill>
                <a:srgbClr val="FFFFFF"/>
              </a:soli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2C08313-D0D6-4B21-9AA5-500CC5AB7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بنيه التقارير المحلية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A43A390-7F3F-4D57-8D4D-3A42D259A0CA}"/>
              </a:ext>
            </a:extLst>
          </p:cNvPr>
          <p:cNvSpPr/>
          <p:nvPr/>
        </p:nvSpPr>
        <p:spPr bwMode="auto">
          <a:xfrm flipH="1">
            <a:off x="584984" y="1330111"/>
            <a:ext cx="3500835" cy="4938925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1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latin typeface="Arial" panose="020B0604020202020204" pitchFamily="34" charset="0"/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7F10E78A-CEF2-4D8C-B1AE-D2980E1DD4CB}"/>
              </a:ext>
            </a:extLst>
          </p:cNvPr>
          <p:cNvSpPr/>
          <p:nvPr/>
        </p:nvSpPr>
        <p:spPr bwMode="auto">
          <a:xfrm flipH="1">
            <a:off x="8108552" y="1335197"/>
            <a:ext cx="3500835" cy="4923185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1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latin typeface="Arial" panose="020B0604020202020204" pitchFamily="34" charset="0"/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CBB2FD5A-C7F4-496C-920D-ABB0B20FD937}"/>
              </a:ext>
            </a:extLst>
          </p:cNvPr>
          <p:cNvSpPr/>
          <p:nvPr/>
        </p:nvSpPr>
        <p:spPr bwMode="auto">
          <a:xfrm flipH="1">
            <a:off x="4347159" y="1330111"/>
            <a:ext cx="3500835" cy="493892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1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latin typeface="Arial" panose="020B0604020202020204" pitchFamily="34" charset="0"/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44" name="Cylinder 43">
            <a:extLst>
              <a:ext uri="{FF2B5EF4-FFF2-40B4-BE49-F238E27FC236}">
                <a16:creationId xmlns:a16="http://schemas.microsoft.com/office/drawing/2014/main" xmlns="" id="{4A4876FC-39CD-45CA-BC8C-F9772E0CD100}"/>
              </a:ext>
            </a:extLst>
          </p:cNvPr>
          <p:cNvSpPr/>
          <p:nvPr/>
        </p:nvSpPr>
        <p:spPr bwMode="auto">
          <a:xfrm flipH="1">
            <a:off x="9461826" y="3600818"/>
            <a:ext cx="794287" cy="620850"/>
          </a:xfrm>
          <a:prstGeom prst="can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6494" tIns="149196" rIns="186494" bIns="149196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0846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ar-SA" sz="1000">
                <a:solidFill>
                  <a:schemeClr val="tx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 val="0"/>
              </a:rPr>
              <a:t> AXDB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686D9AC3-0486-4B41-A238-B54FD5FE83B8}"/>
              </a:ext>
            </a:extLst>
          </p:cNvPr>
          <p:cNvSpPr/>
          <p:nvPr/>
        </p:nvSpPr>
        <p:spPr bwMode="auto">
          <a:xfrm flipH="1">
            <a:off x="9321087" y="2466737"/>
            <a:ext cx="1075765" cy="68337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ar-SA" sz="10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 val="0"/>
              </a:rPr>
              <a:t>AOS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5FE71133-B9E9-4492-AB2B-B23D8DC5F76E}"/>
              </a:ext>
            </a:extLst>
          </p:cNvPr>
          <p:cNvGrpSpPr/>
          <p:nvPr/>
        </p:nvGrpSpPr>
        <p:grpSpPr>
          <a:xfrm flipH="1">
            <a:off x="4460071" y="2693573"/>
            <a:ext cx="3275012" cy="1133383"/>
            <a:chOff x="4459288" y="2124167"/>
            <a:chExt cx="3275012" cy="1133383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xmlns="" id="{984B65E2-DF74-416F-9D8D-1307180C3A0F}"/>
                </a:ext>
              </a:extLst>
            </p:cNvPr>
            <p:cNvSpPr/>
            <p:nvPr/>
          </p:nvSpPr>
          <p:spPr bwMode="auto">
            <a:xfrm>
              <a:off x="4459288" y="2124167"/>
              <a:ext cx="3275012" cy="1133383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ar-SA" sz="1400" dirty="0">
                  <a:solidFill>
                    <a:schemeClr val="tx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قواعد البيانات المنسوخة</a:t>
              </a:r>
              <a:endParaRPr lang="en-US" sz="2400" dirty="0">
                <a:solidFill>
                  <a:schemeClr val="tx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Cylinder 48">
              <a:extLst>
                <a:ext uri="{FF2B5EF4-FFF2-40B4-BE49-F238E27FC236}">
                  <a16:creationId xmlns:a16="http://schemas.microsoft.com/office/drawing/2014/main" xmlns="" id="{AF7F30FB-D7CC-45B5-90AC-98AE9D7D00F0}"/>
                </a:ext>
              </a:extLst>
            </p:cNvPr>
            <p:cNvSpPr/>
            <p:nvPr/>
          </p:nvSpPr>
          <p:spPr bwMode="auto">
            <a:xfrm>
              <a:off x="4599017" y="2501816"/>
              <a:ext cx="777391" cy="620850"/>
            </a:xfrm>
            <a:prstGeom prst="can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6494" tIns="149196" rIns="186494" bIns="149196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46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 AXDB</a:t>
              </a:r>
            </a:p>
          </p:txBody>
        </p:sp>
        <p:sp>
          <p:nvSpPr>
            <p:cNvPr id="50" name="Cylinder 49">
              <a:extLst>
                <a:ext uri="{FF2B5EF4-FFF2-40B4-BE49-F238E27FC236}">
                  <a16:creationId xmlns:a16="http://schemas.microsoft.com/office/drawing/2014/main" xmlns="" id="{F8B97882-1CFD-45C8-9A9D-32BC3793222B}"/>
                </a:ext>
              </a:extLst>
            </p:cNvPr>
            <p:cNvSpPr/>
            <p:nvPr/>
          </p:nvSpPr>
          <p:spPr bwMode="auto">
            <a:xfrm>
              <a:off x="5445358" y="2501816"/>
              <a:ext cx="777391" cy="620850"/>
            </a:xfrm>
            <a:prstGeom prst="can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6494" tIns="149196" rIns="186494" bIns="149196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46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CRM</a:t>
              </a:r>
            </a:p>
          </p:txBody>
        </p:sp>
        <p:sp>
          <p:nvSpPr>
            <p:cNvPr id="51" name="Cylinder 50">
              <a:extLst>
                <a:ext uri="{FF2B5EF4-FFF2-40B4-BE49-F238E27FC236}">
                  <a16:creationId xmlns:a16="http://schemas.microsoft.com/office/drawing/2014/main" xmlns="" id="{1E3C623D-A395-44E3-8FB9-4F1309247B4F}"/>
                </a:ext>
              </a:extLst>
            </p:cNvPr>
            <p:cNvSpPr/>
            <p:nvPr/>
          </p:nvSpPr>
          <p:spPr bwMode="auto">
            <a:xfrm>
              <a:off x="6291700" y="2501816"/>
              <a:ext cx="1302872" cy="620850"/>
            </a:xfrm>
            <a:prstGeom prst="can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6494" tIns="149196" rIns="186494" bIns="149196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46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النقل</a:t>
              </a:r>
            </a:p>
          </p:txBody>
        </p:sp>
      </p:grpSp>
      <p:sp>
        <p:nvSpPr>
          <p:cNvPr id="53" name="Cube 52">
            <a:extLst>
              <a:ext uri="{FF2B5EF4-FFF2-40B4-BE49-F238E27FC236}">
                <a16:creationId xmlns:a16="http://schemas.microsoft.com/office/drawing/2014/main" xmlns="" id="{F493A60E-A5EB-4CC7-9EC5-C346AAD148C4}"/>
              </a:ext>
            </a:extLst>
          </p:cNvPr>
          <p:cNvSpPr/>
          <p:nvPr/>
        </p:nvSpPr>
        <p:spPr bwMode="auto">
          <a:xfrm flipH="1">
            <a:off x="1090884" y="3727688"/>
            <a:ext cx="1239902" cy="1036363"/>
          </a:xfrm>
          <a:prstGeom prst="cube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6494" tIns="149196" rIns="186494" bIns="149196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0846" rtl="1" fontAlgn="base">
              <a:spcBef>
                <a:spcPct val="0"/>
              </a:spcBef>
              <a:spcAft>
                <a:spcPct val="0"/>
              </a:spcAft>
            </a:pPr>
            <a:r>
              <a:rPr lang="ar-SA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مكعب الشراء</a:t>
            </a:r>
          </a:p>
        </p:txBody>
      </p:sp>
      <p:sp>
        <p:nvSpPr>
          <p:cNvPr id="54" name="Cube 53">
            <a:extLst>
              <a:ext uri="{FF2B5EF4-FFF2-40B4-BE49-F238E27FC236}">
                <a16:creationId xmlns:a16="http://schemas.microsoft.com/office/drawing/2014/main" xmlns="" id="{CFA3AEDD-AE9E-4520-9270-C795FA287240}"/>
              </a:ext>
            </a:extLst>
          </p:cNvPr>
          <p:cNvSpPr/>
          <p:nvPr/>
        </p:nvSpPr>
        <p:spPr bwMode="auto">
          <a:xfrm flipH="1">
            <a:off x="2340017" y="3727688"/>
            <a:ext cx="1239902" cy="1036363"/>
          </a:xfrm>
          <a:prstGeom prst="cube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6494" tIns="149196" rIns="186494" bIns="149196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0846" rtl="1" fontAlgn="base">
              <a:spcBef>
                <a:spcPct val="0"/>
              </a:spcBef>
              <a:spcAft>
                <a:spcPct val="0"/>
              </a:spcAft>
            </a:pPr>
            <a:r>
              <a:rPr lang="ar-SA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مكعب المبيعات</a:t>
            </a:r>
          </a:p>
        </p:txBody>
      </p:sp>
      <p:sp>
        <p:nvSpPr>
          <p:cNvPr id="55" name="Cube 54">
            <a:extLst>
              <a:ext uri="{FF2B5EF4-FFF2-40B4-BE49-F238E27FC236}">
                <a16:creationId xmlns:a16="http://schemas.microsoft.com/office/drawing/2014/main" xmlns="" id="{95E765B7-67BA-4A6C-B7F7-C3932804EB4C}"/>
              </a:ext>
            </a:extLst>
          </p:cNvPr>
          <p:cNvSpPr/>
          <p:nvPr/>
        </p:nvSpPr>
        <p:spPr bwMode="auto">
          <a:xfrm flipH="1">
            <a:off x="1090884" y="2590150"/>
            <a:ext cx="1239902" cy="1036363"/>
          </a:xfrm>
          <a:prstGeom prst="cube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2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6494" tIns="149196" rIns="186494" bIns="149196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0846" rtl="1" fontAlgn="base">
              <a:spcBef>
                <a:spcPct val="0"/>
              </a:spcBef>
              <a:spcAft>
                <a:spcPct val="0"/>
              </a:spcAft>
            </a:pPr>
            <a:r>
              <a:rPr lang="ar-SA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نماذج البيانات الجدولية</a:t>
            </a:r>
          </a:p>
        </p:txBody>
      </p:sp>
      <p:sp>
        <p:nvSpPr>
          <p:cNvPr id="56" name="Cylinder 55">
            <a:extLst>
              <a:ext uri="{FF2B5EF4-FFF2-40B4-BE49-F238E27FC236}">
                <a16:creationId xmlns:a16="http://schemas.microsoft.com/office/drawing/2014/main" xmlns="" id="{742AEFA3-9272-4A79-8846-4C74A345E988}"/>
              </a:ext>
            </a:extLst>
          </p:cNvPr>
          <p:cNvSpPr/>
          <p:nvPr/>
        </p:nvSpPr>
        <p:spPr bwMode="auto">
          <a:xfrm flipH="1">
            <a:off x="2418251" y="2659882"/>
            <a:ext cx="1083434" cy="896899"/>
          </a:xfrm>
          <a:prstGeom prst="can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6494" tIns="149196" rIns="186494" bIns="149196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0846" rtl="1" fontAlgn="base">
              <a:spcBef>
                <a:spcPct val="0"/>
              </a:spcBef>
              <a:spcAft>
                <a:spcPct val="0"/>
              </a:spcAft>
            </a:pPr>
            <a:r>
              <a:rPr lang="ar-SA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DW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xmlns="" id="{C091EEF1-07A4-44C0-A3C5-532E696369A4}"/>
              </a:ext>
            </a:extLst>
          </p:cNvPr>
          <p:cNvGrpSpPr/>
          <p:nvPr/>
        </p:nvGrpSpPr>
        <p:grpSpPr>
          <a:xfrm flipH="1">
            <a:off x="4460071" y="4342605"/>
            <a:ext cx="3275012" cy="1025884"/>
            <a:chOff x="4459288" y="3812816"/>
            <a:chExt cx="3275012" cy="1025884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9762952D-69E3-4EB8-ACE7-733C7888E3F4}"/>
                </a:ext>
              </a:extLst>
            </p:cNvPr>
            <p:cNvSpPr/>
            <p:nvPr/>
          </p:nvSpPr>
          <p:spPr bwMode="auto">
            <a:xfrm>
              <a:off x="4459288" y="3812816"/>
              <a:ext cx="3275012" cy="1025884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ar-SA" sz="1400" dirty="0">
                  <a:solidFill>
                    <a:schemeClr val="tx1"/>
                  </a:solidFill>
                  <a:latin typeface="Arial" panose="020B0604020202020204" pitchFamily="34" charset="0"/>
                  <a:ea typeface="Segoe UI" pitchFamily="34" charset="0"/>
                  <a:cs typeface="Arial" panose="020B0604020202020204" pitchFamily="34" charset="0"/>
                  <a:rtl/>
                </a:rPr>
                <a:t>نموذج البيانات المحدد</a:t>
              </a:r>
              <a:endParaRPr lang="en-US" sz="2400" dirty="0">
                <a:solidFill>
                  <a:schemeClr val="tx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Cylinder 58">
              <a:extLst>
                <a:ext uri="{FF2B5EF4-FFF2-40B4-BE49-F238E27FC236}">
                  <a16:creationId xmlns:a16="http://schemas.microsoft.com/office/drawing/2014/main" xmlns="" id="{DD78BEFD-482B-48BD-BA26-61FFF57EC3A8}"/>
                </a:ext>
              </a:extLst>
            </p:cNvPr>
            <p:cNvSpPr/>
            <p:nvPr/>
          </p:nvSpPr>
          <p:spPr bwMode="auto">
            <a:xfrm>
              <a:off x="4599017" y="4147111"/>
              <a:ext cx="777391" cy="620850"/>
            </a:xfrm>
            <a:prstGeom prst="can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86494" tIns="149196" rIns="186494" bIns="149196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46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 Sales</a:t>
              </a:r>
            </a:p>
          </p:txBody>
        </p:sp>
        <p:sp>
          <p:nvSpPr>
            <p:cNvPr id="60" name="Cylinder 59">
              <a:extLst>
                <a:ext uri="{FF2B5EF4-FFF2-40B4-BE49-F238E27FC236}">
                  <a16:creationId xmlns:a16="http://schemas.microsoft.com/office/drawing/2014/main" xmlns="" id="{9EBDA3C3-0555-4E78-9427-A1169D67A0EC}"/>
                </a:ext>
              </a:extLst>
            </p:cNvPr>
            <p:cNvSpPr/>
            <p:nvPr/>
          </p:nvSpPr>
          <p:spPr bwMode="auto">
            <a:xfrm>
              <a:off x="5708099" y="4147111"/>
              <a:ext cx="777391" cy="620850"/>
            </a:xfrm>
            <a:prstGeom prst="can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149196" rIns="91440" bIns="149196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46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 الشراء</a:t>
              </a:r>
            </a:p>
          </p:txBody>
        </p:sp>
        <p:sp>
          <p:nvSpPr>
            <p:cNvPr id="61" name="Cylinder 60">
              <a:extLst>
                <a:ext uri="{FF2B5EF4-FFF2-40B4-BE49-F238E27FC236}">
                  <a16:creationId xmlns:a16="http://schemas.microsoft.com/office/drawing/2014/main" xmlns="" id="{6690A424-71E0-4CF9-BD90-ACC0CC87F1C4}"/>
                </a:ext>
              </a:extLst>
            </p:cNvPr>
            <p:cNvSpPr/>
            <p:nvPr/>
          </p:nvSpPr>
          <p:spPr bwMode="auto">
            <a:xfrm>
              <a:off x="6817181" y="4147111"/>
              <a:ext cx="777391" cy="620850"/>
            </a:xfrm>
            <a:prstGeom prst="can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149196" rIns="91440" bIns="149196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46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ar-SA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rtl/>
                </a:rPr>
                <a:t> المخزون</a:t>
              </a:r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xmlns="" id="{5AAB7EE6-FC96-47C6-87F5-943E6F65905E}"/>
              </a:ext>
            </a:extLst>
          </p:cNvPr>
          <p:cNvSpPr/>
          <p:nvPr/>
        </p:nvSpPr>
        <p:spPr bwMode="auto">
          <a:xfrm flipH="1">
            <a:off x="8108552" y="5556737"/>
            <a:ext cx="3500835" cy="712299"/>
          </a:xfrm>
          <a:prstGeom prst="rect">
            <a:avLst/>
          </a:prstGeom>
          <a:solidFill>
            <a:srgbClr val="243A5E"/>
          </a:solidFill>
          <a:ln w="6350" cap="flat" cmpd="sng" algn="ctr">
            <a:solidFill>
              <a:srgbClr val="243A5E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7" tIns="45720" rIns="91427" bIns="45720" numCol="1" rtl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76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ar-SA" sz="2000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المرحلة </a:t>
            </a:r>
            <a:r>
              <a:rPr lang="" sz="2000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1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833D1A57-F5BA-4597-B2CD-A83140F94BD0}"/>
              </a:ext>
            </a:extLst>
          </p:cNvPr>
          <p:cNvSpPr/>
          <p:nvPr/>
        </p:nvSpPr>
        <p:spPr bwMode="auto">
          <a:xfrm flipH="1">
            <a:off x="4347159" y="5556737"/>
            <a:ext cx="3500835" cy="712299"/>
          </a:xfrm>
          <a:prstGeom prst="rect">
            <a:avLst/>
          </a:prstGeom>
          <a:solidFill>
            <a:srgbClr val="243A5E"/>
          </a:solidFill>
          <a:ln w="6350" cap="flat" cmpd="sng" algn="ctr">
            <a:solidFill>
              <a:srgbClr val="243A5E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7" tIns="45720" rIns="91427" bIns="45720" numCol="1" rtl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76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ar-SA" sz="2000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المرحلة </a:t>
            </a:r>
            <a:r>
              <a:rPr lang="" sz="2000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2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9BCF2B0F-4E06-4C15-B7C6-DFA93CCDE66D}"/>
              </a:ext>
            </a:extLst>
          </p:cNvPr>
          <p:cNvSpPr/>
          <p:nvPr/>
        </p:nvSpPr>
        <p:spPr bwMode="auto">
          <a:xfrm flipH="1">
            <a:off x="584984" y="5556737"/>
            <a:ext cx="3500835" cy="712299"/>
          </a:xfrm>
          <a:prstGeom prst="rect">
            <a:avLst/>
          </a:prstGeom>
          <a:solidFill>
            <a:srgbClr val="243A5E"/>
          </a:solidFill>
          <a:ln w="6350" cap="flat" cmpd="sng" algn="ctr">
            <a:solidFill>
              <a:srgbClr val="243A5E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7" tIns="45720" rIns="91427" bIns="45720" numCol="1" rtl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76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ar-SA" sz="2000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المرحلة </a:t>
            </a:r>
            <a:r>
              <a:rPr lang="" sz="2000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3</a:t>
            </a:r>
          </a:p>
        </p:txBody>
      </p:sp>
      <p:pic>
        <p:nvPicPr>
          <p:cNvPr id="65" name="Picture 2" descr="See the source image">
            <a:extLst>
              <a:ext uri="{FF2B5EF4-FFF2-40B4-BE49-F238E27FC236}">
                <a16:creationId xmlns:a16="http://schemas.microsoft.com/office/drawing/2014/main" xmlns="" id="{5332C775-729F-4788-BD11-C98F7D06D6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862347" y="4672380"/>
            <a:ext cx="1530639" cy="48543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9" descr="See the source image">
            <a:extLst>
              <a:ext uri="{FF2B5EF4-FFF2-40B4-BE49-F238E27FC236}">
                <a16:creationId xmlns:a16="http://schemas.microsoft.com/office/drawing/2014/main" xmlns="" id="{BFFBAAFA-A3A0-4E80-9CB7-B2FB0DFA7C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5848" y="4672380"/>
            <a:ext cx="494464" cy="485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Graphic 66" descr="Power BI Dashboard">
            <a:extLst>
              <a:ext uri="{FF2B5EF4-FFF2-40B4-BE49-F238E27FC236}">
                <a16:creationId xmlns:a16="http://schemas.microsoft.com/office/drawing/2014/main" xmlns="" id="{3E380F73-0617-48B9-ABF9-EAA3F9234D7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3313476" y="2104041"/>
            <a:ext cx="339959" cy="362130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xmlns="" id="{1AA2E511-D9DA-455B-BCE9-BA33239C432C}"/>
              </a:ext>
            </a:extLst>
          </p:cNvPr>
          <p:cNvGrpSpPr>
            <a:grpSpLocks noChangeAspect="1"/>
          </p:cNvGrpSpPr>
          <p:nvPr/>
        </p:nvGrpSpPr>
        <p:grpSpPr>
          <a:xfrm>
            <a:off x="2659477" y="2104041"/>
            <a:ext cx="334976" cy="362130"/>
            <a:chOff x="10779316" y="2588602"/>
            <a:chExt cx="624816" cy="675466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7FA298DA-9A65-4332-B48D-76F1FDDF36DE}"/>
                </a:ext>
              </a:extLst>
            </p:cNvPr>
            <p:cNvSpPr/>
            <p:nvPr/>
          </p:nvSpPr>
          <p:spPr>
            <a:xfrm>
              <a:off x="10779316" y="2588602"/>
              <a:ext cx="624816" cy="675466"/>
            </a:xfrm>
            <a:custGeom>
              <a:avLst/>
              <a:gdLst>
                <a:gd name="connsiteX0" fmla="*/ 466133 w 624816"/>
                <a:gd name="connsiteY0" fmla="*/ 98151 h 675466"/>
                <a:gd name="connsiteX1" fmla="*/ 516687 w 624816"/>
                <a:gd name="connsiteY1" fmla="*/ 70588 h 675466"/>
                <a:gd name="connsiteX2" fmla="*/ 518331 w 624816"/>
                <a:gd name="connsiteY2" fmla="*/ 60046 h 675466"/>
                <a:gd name="connsiteX3" fmla="*/ 518331 w 624816"/>
                <a:gd name="connsiteY3" fmla="*/ 36035 h 675466"/>
                <a:gd name="connsiteX4" fmla="*/ 469787 w 624816"/>
                <a:gd name="connsiteY4" fmla="*/ 1062 h 675466"/>
                <a:gd name="connsiteX5" fmla="*/ 168079 w 624816"/>
                <a:gd name="connsiteY5" fmla="*/ 1062 h 675466"/>
                <a:gd name="connsiteX6" fmla="*/ 116314 w 624816"/>
                <a:gd name="connsiteY6" fmla="*/ 33841 h 675466"/>
                <a:gd name="connsiteX7" fmla="*/ 115881 w 624816"/>
                <a:gd name="connsiteY7" fmla="*/ 36035 h 675466"/>
                <a:gd name="connsiteX8" fmla="*/ 115881 w 624816"/>
                <a:gd name="connsiteY8" fmla="*/ 62656 h 675466"/>
                <a:gd name="connsiteX9" fmla="*/ 158805 w 624816"/>
                <a:gd name="connsiteY9" fmla="*/ 99918 h 675466"/>
                <a:gd name="connsiteX10" fmla="*/ 168079 w 624816"/>
                <a:gd name="connsiteY10" fmla="*/ 98151 h 675466"/>
                <a:gd name="connsiteX11" fmla="*/ 168079 w 624816"/>
                <a:gd name="connsiteY11" fmla="*/ 257879 h 675466"/>
                <a:gd name="connsiteX12" fmla="*/ 0 w 624816"/>
                <a:gd name="connsiteY12" fmla="*/ 581510 h 675466"/>
                <a:gd name="connsiteX13" fmla="*/ 63682 w 624816"/>
                <a:gd name="connsiteY13" fmla="*/ 675467 h 675466"/>
                <a:gd name="connsiteX14" fmla="*/ 559568 w 624816"/>
                <a:gd name="connsiteY14" fmla="*/ 675467 h 675466"/>
                <a:gd name="connsiteX15" fmla="*/ 624816 w 624816"/>
                <a:gd name="connsiteY15" fmla="*/ 581510 h 675466"/>
                <a:gd name="connsiteX16" fmla="*/ 466133 w 624816"/>
                <a:gd name="connsiteY16" fmla="*/ 257879 h 675466"/>
                <a:gd name="connsiteX17" fmla="*/ 466133 w 624816"/>
                <a:gd name="connsiteY17" fmla="*/ 98151 h 675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24816" h="675466">
                  <a:moveTo>
                    <a:pt x="466133" y="98151"/>
                  </a:moveTo>
                  <a:cubicBezTo>
                    <a:pt x="487706" y="104500"/>
                    <a:pt x="510340" y="92159"/>
                    <a:pt x="516687" y="70588"/>
                  </a:cubicBezTo>
                  <a:cubicBezTo>
                    <a:pt x="517694" y="67161"/>
                    <a:pt x="518248" y="63617"/>
                    <a:pt x="518331" y="60046"/>
                  </a:cubicBezTo>
                  <a:lnTo>
                    <a:pt x="518331" y="36035"/>
                  </a:lnTo>
                  <a:cubicBezTo>
                    <a:pt x="513409" y="13721"/>
                    <a:pt x="492509" y="-1334"/>
                    <a:pt x="469787" y="1062"/>
                  </a:cubicBezTo>
                  <a:lnTo>
                    <a:pt x="168079" y="1062"/>
                  </a:lnTo>
                  <a:cubicBezTo>
                    <a:pt x="144733" y="-4181"/>
                    <a:pt x="121557" y="10495"/>
                    <a:pt x="116314" y="33841"/>
                  </a:cubicBezTo>
                  <a:cubicBezTo>
                    <a:pt x="116151" y="34568"/>
                    <a:pt x="116006" y="35300"/>
                    <a:pt x="115881" y="36035"/>
                  </a:cubicBezTo>
                  <a:lnTo>
                    <a:pt x="115881" y="62656"/>
                  </a:lnTo>
                  <a:cubicBezTo>
                    <a:pt x="117445" y="84799"/>
                    <a:pt x="136662" y="101482"/>
                    <a:pt x="158805" y="99918"/>
                  </a:cubicBezTo>
                  <a:cubicBezTo>
                    <a:pt x="161955" y="99695"/>
                    <a:pt x="165068" y="99102"/>
                    <a:pt x="168079" y="98151"/>
                  </a:cubicBezTo>
                  <a:lnTo>
                    <a:pt x="168079" y="257879"/>
                  </a:lnTo>
                  <a:lnTo>
                    <a:pt x="0" y="581510"/>
                  </a:lnTo>
                  <a:lnTo>
                    <a:pt x="63682" y="675467"/>
                  </a:lnTo>
                  <a:lnTo>
                    <a:pt x="559568" y="675467"/>
                  </a:lnTo>
                  <a:lnTo>
                    <a:pt x="624816" y="581510"/>
                  </a:lnTo>
                  <a:lnTo>
                    <a:pt x="466133" y="257879"/>
                  </a:lnTo>
                  <a:lnTo>
                    <a:pt x="466133" y="98151"/>
                  </a:lnTo>
                  <a:close/>
                </a:path>
              </a:pathLst>
            </a:custGeom>
            <a:solidFill>
              <a:schemeClr val="tx2"/>
            </a:solidFill>
            <a:ln w="51858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B467F15C-DCA8-40EF-A642-7548DE9D6C93}"/>
                </a:ext>
              </a:extLst>
            </p:cNvPr>
            <p:cNvSpPr/>
            <p:nvPr/>
          </p:nvSpPr>
          <p:spPr>
            <a:xfrm>
              <a:off x="10875362" y="2687275"/>
              <a:ext cx="385224" cy="481792"/>
            </a:xfrm>
            <a:custGeom>
              <a:avLst/>
              <a:gdLst>
                <a:gd name="connsiteX0" fmla="*/ 385225 w 385224"/>
                <a:gd name="connsiteY0" fmla="*/ 358082 h 481792"/>
                <a:gd name="connsiteX1" fmla="*/ 176953 w 385224"/>
                <a:gd name="connsiteY1" fmla="*/ 358082 h 481792"/>
                <a:gd name="connsiteX2" fmla="*/ 101787 w 385224"/>
                <a:gd name="connsiteY2" fmla="*/ 481792 h 481792"/>
                <a:gd name="connsiteX3" fmla="*/ 0 w 385224"/>
                <a:gd name="connsiteY3" fmla="*/ 481792 h 481792"/>
                <a:gd name="connsiteX4" fmla="*/ 178519 w 385224"/>
                <a:gd name="connsiteY4" fmla="*/ 162859 h 481792"/>
                <a:gd name="connsiteX5" fmla="*/ 178519 w 385224"/>
                <a:gd name="connsiteY5" fmla="*/ 0 h 481792"/>
                <a:gd name="connsiteX6" fmla="*/ 281872 w 385224"/>
                <a:gd name="connsiteY6" fmla="*/ 0 h 481792"/>
                <a:gd name="connsiteX7" fmla="*/ 281872 w 385224"/>
                <a:gd name="connsiteY7" fmla="*/ 162859 h 481792"/>
                <a:gd name="connsiteX8" fmla="*/ 385225 w 385224"/>
                <a:gd name="connsiteY8" fmla="*/ 358082 h 481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224" h="481792">
                  <a:moveTo>
                    <a:pt x="385225" y="358082"/>
                  </a:moveTo>
                  <a:lnTo>
                    <a:pt x="176953" y="358082"/>
                  </a:lnTo>
                  <a:lnTo>
                    <a:pt x="101787" y="481792"/>
                  </a:lnTo>
                  <a:lnTo>
                    <a:pt x="0" y="481792"/>
                  </a:lnTo>
                  <a:lnTo>
                    <a:pt x="178519" y="162859"/>
                  </a:lnTo>
                  <a:lnTo>
                    <a:pt x="178519" y="0"/>
                  </a:lnTo>
                  <a:lnTo>
                    <a:pt x="281872" y="0"/>
                  </a:lnTo>
                  <a:lnTo>
                    <a:pt x="281872" y="162859"/>
                  </a:lnTo>
                  <a:lnTo>
                    <a:pt x="385225" y="358082"/>
                  </a:lnTo>
                  <a:close/>
                </a:path>
              </a:pathLst>
            </a:custGeom>
            <a:solidFill>
              <a:schemeClr val="bg1"/>
            </a:solidFill>
            <a:ln w="51858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xmlns="" id="{5E044D08-579F-4021-96E7-F0230FA39B91}"/>
              </a:ext>
            </a:extLst>
          </p:cNvPr>
          <p:cNvGrpSpPr/>
          <p:nvPr/>
        </p:nvGrpSpPr>
        <p:grpSpPr>
          <a:xfrm>
            <a:off x="8447997" y="4667125"/>
            <a:ext cx="435816" cy="485430"/>
            <a:chOff x="2580307" y="4467833"/>
            <a:chExt cx="435816" cy="485430"/>
          </a:xfrm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4676B2E2-91B9-4C31-A15C-AEF04696A2A5}"/>
                </a:ext>
              </a:extLst>
            </p:cNvPr>
            <p:cNvSpPr/>
            <p:nvPr/>
          </p:nvSpPr>
          <p:spPr>
            <a:xfrm>
              <a:off x="2581275" y="4522761"/>
              <a:ext cx="151416" cy="345064"/>
            </a:xfrm>
            <a:custGeom>
              <a:avLst/>
              <a:gdLst>
                <a:gd name="connsiteX0" fmla="*/ 0 w 151416"/>
                <a:gd name="connsiteY0" fmla="*/ 0 h 345064"/>
                <a:gd name="connsiteX1" fmla="*/ 0 w 151416"/>
                <a:gd name="connsiteY1" fmla="*/ 290125 h 345064"/>
                <a:gd name="connsiteX2" fmla="*/ 151417 w 151416"/>
                <a:gd name="connsiteY2" fmla="*/ 345064 h 345064"/>
                <a:gd name="connsiteX3" fmla="*/ 151417 w 151416"/>
                <a:gd name="connsiteY3" fmla="*/ 0 h 345064"/>
                <a:gd name="connsiteX4" fmla="*/ 0 w 151416"/>
                <a:gd name="connsiteY4" fmla="*/ 0 h 345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416" h="345064">
                  <a:moveTo>
                    <a:pt x="0" y="0"/>
                  </a:moveTo>
                  <a:lnTo>
                    <a:pt x="0" y="290125"/>
                  </a:lnTo>
                  <a:cubicBezTo>
                    <a:pt x="0" y="320968"/>
                    <a:pt x="67934" y="345064"/>
                    <a:pt x="151417" y="345064"/>
                  </a:cubicBezTo>
                  <a:lnTo>
                    <a:pt x="1514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1E5323B2-F670-42BE-A604-F20CFFBF9B16}"/>
                </a:ext>
              </a:extLst>
            </p:cNvPr>
            <p:cNvSpPr/>
            <p:nvPr/>
          </p:nvSpPr>
          <p:spPr>
            <a:xfrm flipH="1">
              <a:off x="2730751" y="4521794"/>
              <a:ext cx="154319" cy="345056"/>
            </a:xfrm>
            <a:custGeom>
              <a:avLst/>
              <a:gdLst>
                <a:gd name="connsiteX0" fmla="*/ 0 w 154319"/>
                <a:gd name="connsiteY0" fmla="*/ 345056 h 345056"/>
                <a:gd name="connsiteX1" fmla="*/ 2910 w 154319"/>
                <a:gd name="connsiteY1" fmla="*/ 345056 h 345056"/>
                <a:gd name="connsiteX2" fmla="*/ 154319 w 154319"/>
                <a:gd name="connsiteY2" fmla="*/ 290117 h 345056"/>
                <a:gd name="connsiteX3" fmla="*/ 154319 w 154319"/>
                <a:gd name="connsiteY3" fmla="*/ 0 h 345056"/>
                <a:gd name="connsiteX4" fmla="*/ 0 w 154319"/>
                <a:gd name="connsiteY4" fmla="*/ 0 h 345056"/>
                <a:gd name="connsiteX5" fmla="*/ 0 w 154319"/>
                <a:gd name="connsiteY5" fmla="*/ 345056 h 345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319" h="345056">
                  <a:moveTo>
                    <a:pt x="0" y="345056"/>
                  </a:moveTo>
                  <a:lnTo>
                    <a:pt x="2910" y="345056"/>
                  </a:lnTo>
                  <a:cubicBezTo>
                    <a:pt x="87350" y="345056"/>
                    <a:pt x="154319" y="320961"/>
                    <a:pt x="154319" y="290117"/>
                  </a:cubicBezTo>
                  <a:lnTo>
                    <a:pt x="154319" y="0"/>
                  </a:lnTo>
                  <a:lnTo>
                    <a:pt x="0" y="0"/>
                  </a:lnTo>
                  <a:lnTo>
                    <a:pt x="0" y="345056"/>
                  </a:lnTo>
                  <a:close/>
                </a:path>
              </a:pathLst>
            </a:custGeom>
            <a:solidFill>
              <a:srgbClr val="FFDC80"/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A1B6BB84-7991-4813-9C71-2673B9A8DB19}"/>
                </a:ext>
              </a:extLst>
            </p:cNvPr>
            <p:cNvSpPr/>
            <p:nvPr/>
          </p:nvSpPr>
          <p:spPr>
            <a:xfrm>
              <a:off x="2580307" y="4467833"/>
              <a:ext cx="303782" cy="109868"/>
            </a:xfrm>
            <a:custGeom>
              <a:avLst/>
              <a:gdLst>
                <a:gd name="connsiteX0" fmla="*/ 303782 w 303782"/>
                <a:gd name="connsiteY0" fmla="*/ 54931 h 109868"/>
                <a:gd name="connsiteX1" fmla="*/ 152373 w 303782"/>
                <a:gd name="connsiteY1" fmla="*/ 109869 h 109868"/>
                <a:gd name="connsiteX2" fmla="*/ 0 w 303782"/>
                <a:gd name="connsiteY2" fmla="*/ 54931 h 109868"/>
                <a:gd name="connsiteX3" fmla="*/ 151409 w 303782"/>
                <a:gd name="connsiteY3" fmla="*/ 0 h 109868"/>
                <a:gd name="connsiteX4" fmla="*/ 303782 w 303782"/>
                <a:gd name="connsiteY4" fmla="*/ 54931 h 109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3782" h="109868">
                  <a:moveTo>
                    <a:pt x="303782" y="54931"/>
                  </a:moveTo>
                  <a:cubicBezTo>
                    <a:pt x="303782" y="84823"/>
                    <a:pt x="235848" y="109869"/>
                    <a:pt x="152373" y="109869"/>
                  </a:cubicBezTo>
                  <a:cubicBezTo>
                    <a:pt x="68915" y="109869"/>
                    <a:pt x="0" y="84823"/>
                    <a:pt x="0" y="54931"/>
                  </a:cubicBezTo>
                  <a:cubicBezTo>
                    <a:pt x="0" y="25046"/>
                    <a:pt x="67942" y="0"/>
                    <a:pt x="151409" y="0"/>
                  </a:cubicBezTo>
                  <a:cubicBezTo>
                    <a:pt x="235848" y="0"/>
                    <a:pt x="303782" y="25046"/>
                    <a:pt x="303782" y="54931"/>
                  </a:cubicBezTo>
                  <a:close/>
                </a:path>
              </a:pathLst>
            </a:custGeom>
            <a:solidFill>
              <a:srgbClr val="FFB900"/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39C67FE7-7BBA-458C-9B69-FC81EAC96D35}"/>
                </a:ext>
              </a:extLst>
            </p:cNvPr>
            <p:cNvSpPr/>
            <p:nvPr/>
          </p:nvSpPr>
          <p:spPr>
            <a:xfrm>
              <a:off x="2612338" y="4483253"/>
              <a:ext cx="241660" cy="73253"/>
            </a:xfrm>
            <a:custGeom>
              <a:avLst/>
              <a:gdLst>
                <a:gd name="connsiteX0" fmla="*/ 241661 w 241660"/>
                <a:gd name="connsiteY0" fmla="*/ 36623 h 73253"/>
                <a:gd name="connsiteX1" fmla="*/ 121317 w 241660"/>
                <a:gd name="connsiteY1" fmla="*/ 73254 h 73253"/>
                <a:gd name="connsiteX2" fmla="*/ 0 w 241660"/>
                <a:gd name="connsiteY2" fmla="*/ 36623 h 73253"/>
                <a:gd name="connsiteX3" fmla="*/ 120344 w 241660"/>
                <a:gd name="connsiteY3" fmla="*/ 0 h 73253"/>
                <a:gd name="connsiteX4" fmla="*/ 241661 w 241660"/>
                <a:gd name="connsiteY4" fmla="*/ 36623 h 73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660" h="73253">
                  <a:moveTo>
                    <a:pt x="241661" y="36623"/>
                  </a:moveTo>
                  <a:cubicBezTo>
                    <a:pt x="241661" y="56878"/>
                    <a:pt x="187298" y="73254"/>
                    <a:pt x="121317" y="73254"/>
                  </a:cubicBezTo>
                  <a:cubicBezTo>
                    <a:pt x="55320" y="73254"/>
                    <a:pt x="0" y="56878"/>
                    <a:pt x="0" y="36623"/>
                  </a:cubicBezTo>
                  <a:cubicBezTo>
                    <a:pt x="0" y="16383"/>
                    <a:pt x="54348" y="0"/>
                    <a:pt x="120344" y="0"/>
                  </a:cubicBezTo>
                  <a:cubicBezTo>
                    <a:pt x="186341" y="0"/>
                    <a:pt x="241661" y="16383"/>
                    <a:pt x="241661" y="36623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E74E26B2-297B-48B6-BD93-14F9191AFB5F}"/>
                </a:ext>
              </a:extLst>
            </p:cNvPr>
            <p:cNvSpPr/>
            <p:nvPr/>
          </p:nvSpPr>
          <p:spPr>
            <a:xfrm>
              <a:off x="2612338" y="4482286"/>
              <a:ext cx="240696" cy="58794"/>
            </a:xfrm>
            <a:custGeom>
              <a:avLst/>
              <a:gdLst>
                <a:gd name="connsiteX0" fmla="*/ 215460 w 240696"/>
                <a:gd name="connsiteY0" fmla="*/ 58795 h 58794"/>
                <a:gd name="connsiteX1" fmla="*/ 240696 w 240696"/>
                <a:gd name="connsiteY1" fmla="*/ 36623 h 58794"/>
                <a:gd name="connsiteX2" fmla="*/ 120352 w 240696"/>
                <a:gd name="connsiteY2" fmla="*/ 0 h 58794"/>
                <a:gd name="connsiteX3" fmla="*/ 0 w 240696"/>
                <a:gd name="connsiteY3" fmla="*/ 36623 h 58794"/>
                <a:gd name="connsiteX4" fmla="*/ 25236 w 240696"/>
                <a:gd name="connsiteY4" fmla="*/ 58795 h 58794"/>
                <a:gd name="connsiteX5" fmla="*/ 120352 w 240696"/>
                <a:gd name="connsiteY5" fmla="*/ 45302 h 58794"/>
                <a:gd name="connsiteX6" fmla="*/ 215460 w 240696"/>
                <a:gd name="connsiteY6" fmla="*/ 58795 h 58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0696" h="58794">
                  <a:moveTo>
                    <a:pt x="215460" y="58795"/>
                  </a:moveTo>
                  <a:cubicBezTo>
                    <a:pt x="231957" y="52048"/>
                    <a:pt x="240696" y="45302"/>
                    <a:pt x="240696" y="36623"/>
                  </a:cubicBezTo>
                  <a:cubicBezTo>
                    <a:pt x="240696" y="16383"/>
                    <a:pt x="186341" y="0"/>
                    <a:pt x="120352" y="0"/>
                  </a:cubicBezTo>
                  <a:cubicBezTo>
                    <a:pt x="54348" y="0"/>
                    <a:pt x="0" y="16383"/>
                    <a:pt x="0" y="36623"/>
                  </a:cubicBezTo>
                  <a:cubicBezTo>
                    <a:pt x="0" y="44336"/>
                    <a:pt x="9704" y="53014"/>
                    <a:pt x="25236" y="58795"/>
                  </a:cubicBezTo>
                  <a:cubicBezTo>
                    <a:pt x="47562" y="50124"/>
                    <a:pt x="81522" y="45302"/>
                    <a:pt x="120352" y="45302"/>
                  </a:cubicBezTo>
                  <a:cubicBezTo>
                    <a:pt x="159167" y="45302"/>
                    <a:pt x="194107" y="51082"/>
                    <a:pt x="215460" y="5879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79" name="Graphic 75">
              <a:extLst>
                <a:ext uri="{FF2B5EF4-FFF2-40B4-BE49-F238E27FC236}">
                  <a16:creationId xmlns:a16="http://schemas.microsoft.com/office/drawing/2014/main" xmlns="" id="{D536915E-9391-4B0C-ADD9-41B1C5CEB3D0}"/>
                </a:ext>
              </a:extLst>
            </p:cNvPr>
            <p:cNvGrpSpPr/>
            <p:nvPr/>
          </p:nvGrpSpPr>
          <p:grpSpPr>
            <a:xfrm>
              <a:off x="2775139" y="4695615"/>
              <a:ext cx="240984" cy="257648"/>
              <a:chOff x="9950786" y="-2124188"/>
              <a:chExt cx="445770" cy="476592"/>
            </a:xfrm>
            <a:solidFill>
              <a:schemeClr val="tx1">
                <a:lumMod val="65000"/>
                <a:lumOff val="35000"/>
              </a:schemeClr>
            </a:solidFill>
          </p:grpSpPr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xmlns="" id="{3A2469D5-CD65-4F88-A558-6CF9982EA99A}"/>
                  </a:ext>
                </a:extLst>
              </p:cNvPr>
              <p:cNvSpPr/>
              <p:nvPr/>
            </p:nvSpPr>
            <p:spPr>
              <a:xfrm>
                <a:off x="9950786" y="-2108605"/>
                <a:ext cx="445770" cy="461009"/>
              </a:xfrm>
              <a:custGeom>
                <a:avLst/>
                <a:gdLst>
                  <a:gd name="connsiteX0" fmla="*/ 377190 w 445770"/>
                  <a:gd name="connsiteY0" fmla="*/ 91440 h 461009"/>
                  <a:gd name="connsiteX1" fmla="*/ 381953 w 445770"/>
                  <a:gd name="connsiteY1" fmla="*/ 96203 h 461009"/>
                  <a:gd name="connsiteX2" fmla="*/ 405765 w 445770"/>
                  <a:gd name="connsiteY2" fmla="*/ 76200 h 461009"/>
                  <a:gd name="connsiteX3" fmla="*/ 445770 w 445770"/>
                  <a:gd name="connsiteY3" fmla="*/ 10478 h 461009"/>
                  <a:gd name="connsiteX4" fmla="*/ 435293 w 445770"/>
                  <a:gd name="connsiteY4" fmla="*/ 0 h 461009"/>
                  <a:gd name="connsiteX5" fmla="*/ 372428 w 445770"/>
                  <a:gd name="connsiteY5" fmla="*/ 41910 h 461009"/>
                  <a:gd name="connsiteX6" fmla="*/ 353378 w 445770"/>
                  <a:gd name="connsiteY6" fmla="*/ 66675 h 461009"/>
                  <a:gd name="connsiteX7" fmla="*/ 358140 w 445770"/>
                  <a:gd name="connsiteY7" fmla="*/ 71438 h 461009"/>
                  <a:gd name="connsiteX8" fmla="*/ 233363 w 445770"/>
                  <a:gd name="connsiteY8" fmla="*/ 200025 h 461009"/>
                  <a:gd name="connsiteX9" fmla="*/ 207645 w 445770"/>
                  <a:gd name="connsiteY9" fmla="*/ 173355 h 461009"/>
                  <a:gd name="connsiteX10" fmla="*/ 179070 w 445770"/>
                  <a:gd name="connsiteY10" fmla="*/ 202883 h 461009"/>
                  <a:gd name="connsiteX11" fmla="*/ 165735 w 445770"/>
                  <a:gd name="connsiteY11" fmla="*/ 243840 h 461009"/>
                  <a:gd name="connsiteX12" fmla="*/ 126683 w 445770"/>
                  <a:gd name="connsiteY12" fmla="*/ 258128 h 461009"/>
                  <a:gd name="connsiteX13" fmla="*/ 0 w 445770"/>
                  <a:gd name="connsiteY13" fmla="*/ 387668 h 461009"/>
                  <a:gd name="connsiteX14" fmla="*/ 70485 w 445770"/>
                  <a:gd name="connsiteY14" fmla="*/ 461010 h 461009"/>
                  <a:gd name="connsiteX15" fmla="*/ 196215 w 445770"/>
                  <a:gd name="connsiteY15" fmla="*/ 330518 h 461009"/>
                  <a:gd name="connsiteX16" fmla="*/ 210503 w 445770"/>
                  <a:gd name="connsiteY16" fmla="*/ 289560 h 461009"/>
                  <a:gd name="connsiteX17" fmla="*/ 249555 w 445770"/>
                  <a:gd name="connsiteY17" fmla="*/ 275273 h 461009"/>
                  <a:gd name="connsiteX18" fmla="*/ 278130 w 445770"/>
                  <a:gd name="connsiteY18" fmla="*/ 245745 h 461009"/>
                  <a:gd name="connsiteX19" fmla="*/ 252413 w 445770"/>
                  <a:gd name="connsiteY19" fmla="*/ 219075 h 461009"/>
                  <a:gd name="connsiteX20" fmla="*/ 377190 w 445770"/>
                  <a:gd name="connsiteY20" fmla="*/ 91440 h 461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45770" h="461009">
                    <a:moveTo>
                      <a:pt x="377190" y="91440"/>
                    </a:moveTo>
                    <a:lnTo>
                      <a:pt x="381953" y="96203"/>
                    </a:lnTo>
                    <a:lnTo>
                      <a:pt x="405765" y="76200"/>
                    </a:lnTo>
                    <a:lnTo>
                      <a:pt x="445770" y="10478"/>
                    </a:lnTo>
                    <a:lnTo>
                      <a:pt x="435293" y="0"/>
                    </a:lnTo>
                    <a:lnTo>
                      <a:pt x="372428" y="41910"/>
                    </a:lnTo>
                    <a:lnTo>
                      <a:pt x="353378" y="66675"/>
                    </a:lnTo>
                    <a:lnTo>
                      <a:pt x="358140" y="71438"/>
                    </a:lnTo>
                    <a:lnTo>
                      <a:pt x="233363" y="200025"/>
                    </a:lnTo>
                    <a:lnTo>
                      <a:pt x="207645" y="173355"/>
                    </a:lnTo>
                    <a:lnTo>
                      <a:pt x="179070" y="202883"/>
                    </a:lnTo>
                    <a:cubicBezTo>
                      <a:pt x="180975" y="217170"/>
                      <a:pt x="176213" y="232410"/>
                      <a:pt x="165735" y="243840"/>
                    </a:cubicBezTo>
                    <a:cubicBezTo>
                      <a:pt x="155258" y="255270"/>
                      <a:pt x="140018" y="260033"/>
                      <a:pt x="126683" y="258128"/>
                    </a:cubicBezTo>
                    <a:lnTo>
                      <a:pt x="0" y="387668"/>
                    </a:lnTo>
                    <a:lnTo>
                      <a:pt x="70485" y="461010"/>
                    </a:lnTo>
                    <a:lnTo>
                      <a:pt x="196215" y="330518"/>
                    </a:lnTo>
                    <a:cubicBezTo>
                      <a:pt x="194310" y="316230"/>
                      <a:pt x="199073" y="300990"/>
                      <a:pt x="210503" y="289560"/>
                    </a:cubicBezTo>
                    <a:cubicBezTo>
                      <a:pt x="220980" y="278130"/>
                      <a:pt x="236220" y="273368"/>
                      <a:pt x="249555" y="275273"/>
                    </a:cubicBezTo>
                    <a:lnTo>
                      <a:pt x="278130" y="245745"/>
                    </a:lnTo>
                    <a:lnTo>
                      <a:pt x="252413" y="219075"/>
                    </a:lnTo>
                    <a:lnTo>
                      <a:pt x="377190" y="9144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1" anchor="ctr"/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xmlns="" id="{CAA380F0-D95F-488D-BF95-3BD670A940E4}"/>
                  </a:ext>
                </a:extLst>
              </p:cNvPr>
              <p:cNvSpPr/>
              <p:nvPr/>
            </p:nvSpPr>
            <p:spPr>
              <a:xfrm>
                <a:off x="10191768" y="-1899055"/>
                <a:ext cx="203834" cy="227647"/>
              </a:xfrm>
              <a:custGeom>
                <a:avLst/>
                <a:gdLst>
                  <a:gd name="connsiteX0" fmla="*/ 124778 w 203834"/>
                  <a:gd name="connsiteY0" fmla="*/ 213360 h 227647"/>
                  <a:gd name="connsiteX1" fmla="*/ 190500 w 203834"/>
                  <a:gd name="connsiteY1" fmla="*/ 213360 h 227647"/>
                  <a:gd name="connsiteX2" fmla="*/ 203835 w 203834"/>
                  <a:gd name="connsiteY2" fmla="*/ 179070 h 227647"/>
                  <a:gd name="connsiteX3" fmla="*/ 190500 w 203834"/>
                  <a:gd name="connsiteY3" fmla="*/ 144780 h 227647"/>
                  <a:gd name="connsiteX4" fmla="*/ 49530 w 203834"/>
                  <a:gd name="connsiteY4" fmla="*/ 0 h 227647"/>
                  <a:gd name="connsiteX5" fmla="*/ 36195 w 203834"/>
                  <a:gd name="connsiteY5" fmla="*/ 14288 h 227647"/>
                  <a:gd name="connsiteX6" fmla="*/ 61913 w 203834"/>
                  <a:gd name="connsiteY6" fmla="*/ 40957 h 227647"/>
                  <a:gd name="connsiteX7" fmla="*/ 50483 w 203834"/>
                  <a:gd name="connsiteY7" fmla="*/ 51435 h 227647"/>
                  <a:gd name="connsiteX8" fmla="*/ 21908 w 203834"/>
                  <a:gd name="connsiteY8" fmla="*/ 80962 h 227647"/>
                  <a:gd name="connsiteX9" fmla="*/ 18097 w 203834"/>
                  <a:gd name="connsiteY9" fmla="*/ 84773 h 227647"/>
                  <a:gd name="connsiteX10" fmla="*/ 12383 w 203834"/>
                  <a:gd name="connsiteY10" fmla="*/ 83820 h 227647"/>
                  <a:gd name="connsiteX11" fmla="*/ 0 w 203834"/>
                  <a:gd name="connsiteY11" fmla="*/ 84773 h 227647"/>
                  <a:gd name="connsiteX12" fmla="*/ 124778 w 203834"/>
                  <a:gd name="connsiteY12" fmla="*/ 213360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3834" h="227647">
                    <a:moveTo>
                      <a:pt x="124778" y="213360"/>
                    </a:moveTo>
                    <a:cubicBezTo>
                      <a:pt x="142875" y="232410"/>
                      <a:pt x="172403" y="232410"/>
                      <a:pt x="190500" y="213360"/>
                    </a:cubicBezTo>
                    <a:cubicBezTo>
                      <a:pt x="200025" y="203835"/>
                      <a:pt x="203835" y="191453"/>
                      <a:pt x="203835" y="179070"/>
                    </a:cubicBezTo>
                    <a:cubicBezTo>
                      <a:pt x="203835" y="166687"/>
                      <a:pt x="199073" y="154305"/>
                      <a:pt x="190500" y="144780"/>
                    </a:cubicBezTo>
                    <a:lnTo>
                      <a:pt x="49530" y="0"/>
                    </a:lnTo>
                    <a:lnTo>
                      <a:pt x="36195" y="14288"/>
                    </a:lnTo>
                    <a:lnTo>
                      <a:pt x="61913" y="40957"/>
                    </a:lnTo>
                    <a:lnTo>
                      <a:pt x="50483" y="51435"/>
                    </a:lnTo>
                    <a:lnTo>
                      <a:pt x="21908" y="80962"/>
                    </a:lnTo>
                    <a:lnTo>
                      <a:pt x="18097" y="84773"/>
                    </a:lnTo>
                    <a:lnTo>
                      <a:pt x="12383" y="83820"/>
                    </a:lnTo>
                    <a:cubicBezTo>
                      <a:pt x="8572" y="83820"/>
                      <a:pt x="3810" y="83820"/>
                      <a:pt x="0" y="84773"/>
                    </a:cubicBezTo>
                    <a:lnTo>
                      <a:pt x="124778" y="2133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1" anchor="ctr"/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xmlns="" id="{29D23A07-0657-4F6D-8763-A241F020F2AE}"/>
                  </a:ext>
                </a:extLst>
              </p:cNvPr>
              <p:cNvSpPr/>
              <p:nvPr/>
            </p:nvSpPr>
            <p:spPr>
              <a:xfrm>
                <a:off x="9961858" y="-2124188"/>
                <a:ext cx="232767" cy="227037"/>
              </a:xfrm>
              <a:custGeom>
                <a:avLst/>
                <a:gdLst>
                  <a:gd name="connsiteX0" fmla="*/ 167045 w 232767"/>
                  <a:gd name="connsiteY0" fmla="*/ 29870 h 227037"/>
                  <a:gd name="connsiteX1" fmla="*/ 71795 w 232767"/>
                  <a:gd name="connsiteY1" fmla="*/ 3200 h 227037"/>
                  <a:gd name="connsiteX2" fmla="*/ 127992 w 232767"/>
                  <a:gd name="connsiteY2" fmla="*/ 60350 h 227037"/>
                  <a:gd name="connsiteX3" fmla="*/ 113705 w 232767"/>
                  <a:gd name="connsiteY3" fmla="*/ 116547 h 227037"/>
                  <a:gd name="connsiteX4" fmla="*/ 58460 w 232767"/>
                  <a:gd name="connsiteY4" fmla="*/ 131787 h 227037"/>
                  <a:gd name="connsiteX5" fmla="*/ 3215 w 232767"/>
                  <a:gd name="connsiteY5" fmla="*/ 74637 h 227037"/>
                  <a:gd name="connsiteX6" fmla="*/ 28932 w 232767"/>
                  <a:gd name="connsiteY6" fmla="*/ 172745 h 227037"/>
                  <a:gd name="connsiteX7" fmla="*/ 125135 w 232767"/>
                  <a:gd name="connsiteY7" fmla="*/ 198462 h 227037"/>
                  <a:gd name="connsiteX8" fmla="*/ 127040 w 232767"/>
                  <a:gd name="connsiteY8" fmla="*/ 200367 h 227037"/>
                  <a:gd name="connsiteX9" fmla="*/ 152757 w 232767"/>
                  <a:gd name="connsiteY9" fmla="*/ 227037 h 227037"/>
                  <a:gd name="connsiteX10" fmla="*/ 153710 w 232767"/>
                  <a:gd name="connsiteY10" fmla="*/ 218465 h 227037"/>
                  <a:gd name="connsiteX11" fmla="*/ 153710 w 232767"/>
                  <a:gd name="connsiteY11" fmla="*/ 213702 h 227037"/>
                  <a:gd name="connsiteX12" fmla="*/ 151805 w 232767"/>
                  <a:gd name="connsiteY12" fmla="*/ 209892 h 227037"/>
                  <a:gd name="connsiteX13" fmla="*/ 194667 w 232767"/>
                  <a:gd name="connsiteY13" fmla="*/ 165125 h 227037"/>
                  <a:gd name="connsiteX14" fmla="*/ 202287 w 232767"/>
                  <a:gd name="connsiteY14" fmla="*/ 173697 h 227037"/>
                  <a:gd name="connsiteX15" fmla="*/ 219432 w 232767"/>
                  <a:gd name="connsiteY15" fmla="*/ 191795 h 227037"/>
                  <a:gd name="connsiteX16" fmla="*/ 232767 w 232767"/>
                  <a:gd name="connsiteY16" fmla="*/ 177507 h 227037"/>
                  <a:gd name="connsiteX17" fmla="*/ 191810 w 232767"/>
                  <a:gd name="connsiteY17" fmla="*/ 133692 h 227037"/>
                  <a:gd name="connsiteX18" fmla="*/ 191810 w 232767"/>
                  <a:gd name="connsiteY18" fmla="*/ 133692 h 227037"/>
                  <a:gd name="connsiteX19" fmla="*/ 167045 w 232767"/>
                  <a:gd name="connsiteY19" fmla="*/ 29870 h 227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2767" h="227037">
                    <a:moveTo>
                      <a:pt x="167045" y="29870"/>
                    </a:moveTo>
                    <a:cubicBezTo>
                      <a:pt x="141327" y="3200"/>
                      <a:pt x="104180" y="-5373"/>
                      <a:pt x="71795" y="3200"/>
                    </a:cubicBezTo>
                    <a:lnTo>
                      <a:pt x="127992" y="60350"/>
                    </a:lnTo>
                    <a:lnTo>
                      <a:pt x="113705" y="116547"/>
                    </a:lnTo>
                    <a:lnTo>
                      <a:pt x="58460" y="131787"/>
                    </a:lnTo>
                    <a:lnTo>
                      <a:pt x="3215" y="74637"/>
                    </a:lnTo>
                    <a:cubicBezTo>
                      <a:pt x="-5358" y="108927"/>
                      <a:pt x="3215" y="146075"/>
                      <a:pt x="28932" y="172745"/>
                    </a:cubicBezTo>
                    <a:cubicBezTo>
                      <a:pt x="54650" y="199415"/>
                      <a:pt x="91797" y="207987"/>
                      <a:pt x="125135" y="198462"/>
                    </a:cubicBezTo>
                    <a:lnTo>
                      <a:pt x="127040" y="200367"/>
                    </a:lnTo>
                    <a:lnTo>
                      <a:pt x="152757" y="227037"/>
                    </a:lnTo>
                    <a:cubicBezTo>
                      <a:pt x="153710" y="224180"/>
                      <a:pt x="153710" y="221322"/>
                      <a:pt x="153710" y="218465"/>
                    </a:cubicBezTo>
                    <a:cubicBezTo>
                      <a:pt x="153710" y="216560"/>
                      <a:pt x="153710" y="215607"/>
                      <a:pt x="153710" y="213702"/>
                    </a:cubicBezTo>
                    <a:lnTo>
                      <a:pt x="151805" y="209892"/>
                    </a:lnTo>
                    <a:lnTo>
                      <a:pt x="194667" y="165125"/>
                    </a:lnTo>
                    <a:lnTo>
                      <a:pt x="202287" y="173697"/>
                    </a:lnTo>
                    <a:lnTo>
                      <a:pt x="219432" y="191795"/>
                    </a:lnTo>
                    <a:lnTo>
                      <a:pt x="232767" y="177507"/>
                    </a:lnTo>
                    <a:lnTo>
                      <a:pt x="191810" y="133692"/>
                    </a:lnTo>
                    <a:lnTo>
                      <a:pt x="191810" y="133692"/>
                    </a:lnTo>
                    <a:cubicBezTo>
                      <a:pt x="202287" y="98450"/>
                      <a:pt x="194667" y="58445"/>
                      <a:pt x="167045" y="29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1" anchor="ctr"/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83" name="Picture 2" descr="See the source image">
            <a:extLst>
              <a:ext uri="{FF2B5EF4-FFF2-40B4-BE49-F238E27FC236}">
                <a16:creationId xmlns:a16="http://schemas.microsoft.com/office/drawing/2014/main" xmlns="" id="{3C0232E8-29EB-4E92-84B9-19E5FEEA83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862347" y="1530596"/>
            <a:ext cx="1530639" cy="48543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9" descr="See the source image">
            <a:extLst>
              <a:ext uri="{FF2B5EF4-FFF2-40B4-BE49-F238E27FC236}">
                <a16:creationId xmlns:a16="http://schemas.microsoft.com/office/drawing/2014/main" xmlns="" id="{327AB42A-83D2-4337-970D-33FE51E16C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5848" y="1530596"/>
            <a:ext cx="494464" cy="485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2" descr="See the source image">
            <a:extLst>
              <a:ext uri="{FF2B5EF4-FFF2-40B4-BE49-F238E27FC236}">
                <a16:creationId xmlns:a16="http://schemas.microsoft.com/office/drawing/2014/main" xmlns="" id="{4483B8A4-7D68-4A48-8D9D-AD4A6D69A6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34408" y="1530596"/>
            <a:ext cx="1530639" cy="48543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Graphic 87" descr="Power BI Dashboard">
            <a:extLst>
              <a:ext uri="{FF2B5EF4-FFF2-40B4-BE49-F238E27FC236}">
                <a16:creationId xmlns:a16="http://schemas.microsoft.com/office/drawing/2014/main" xmlns="" id="{05517FB4-DBCD-4A4E-B99F-DBD3E42AC51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5655839" y="1592246"/>
            <a:ext cx="339959" cy="362130"/>
          </a:xfrm>
          <a:prstGeom prst="rect">
            <a:avLst/>
          </a:prstGeom>
        </p:spPr>
      </p:pic>
      <p:grpSp>
        <p:nvGrpSpPr>
          <p:cNvPr id="89" name="Group 88">
            <a:extLst>
              <a:ext uri="{FF2B5EF4-FFF2-40B4-BE49-F238E27FC236}">
                <a16:creationId xmlns:a16="http://schemas.microsoft.com/office/drawing/2014/main" xmlns="" id="{C3C56214-23D5-420A-968F-118336DE2546}"/>
              </a:ext>
            </a:extLst>
          </p:cNvPr>
          <p:cNvGrpSpPr/>
          <p:nvPr/>
        </p:nvGrpSpPr>
        <p:grpSpPr>
          <a:xfrm>
            <a:off x="5081436" y="1538067"/>
            <a:ext cx="435793" cy="485434"/>
            <a:chOff x="2580307" y="4467833"/>
            <a:chExt cx="435793" cy="485434"/>
          </a:xfrm>
        </p:grpSpPr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C7C99328-441B-4C11-85AB-124F70110A9E}"/>
                </a:ext>
              </a:extLst>
            </p:cNvPr>
            <p:cNvSpPr/>
            <p:nvPr/>
          </p:nvSpPr>
          <p:spPr>
            <a:xfrm>
              <a:off x="2581275" y="4522761"/>
              <a:ext cx="151416" cy="345064"/>
            </a:xfrm>
            <a:custGeom>
              <a:avLst/>
              <a:gdLst>
                <a:gd name="connsiteX0" fmla="*/ 0 w 151416"/>
                <a:gd name="connsiteY0" fmla="*/ 0 h 345064"/>
                <a:gd name="connsiteX1" fmla="*/ 0 w 151416"/>
                <a:gd name="connsiteY1" fmla="*/ 290125 h 345064"/>
                <a:gd name="connsiteX2" fmla="*/ 151417 w 151416"/>
                <a:gd name="connsiteY2" fmla="*/ 345064 h 345064"/>
                <a:gd name="connsiteX3" fmla="*/ 151417 w 151416"/>
                <a:gd name="connsiteY3" fmla="*/ 0 h 345064"/>
                <a:gd name="connsiteX4" fmla="*/ 0 w 151416"/>
                <a:gd name="connsiteY4" fmla="*/ 0 h 345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416" h="345064">
                  <a:moveTo>
                    <a:pt x="0" y="0"/>
                  </a:moveTo>
                  <a:lnTo>
                    <a:pt x="0" y="290125"/>
                  </a:lnTo>
                  <a:cubicBezTo>
                    <a:pt x="0" y="320968"/>
                    <a:pt x="67934" y="345064"/>
                    <a:pt x="151417" y="345064"/>
                  </a:cubicBezTo>
                  <a:lnTo>
                    <a:pt x="1514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A52CB3BF-83DF-4284-AFD8-D7E79480070D}"/>
                </a:ext>
              </a:extLst>
            </p:cNvPr>
            <p:cNvSpPr/>
            <p:nvPr/>
          </p:nvSpPr>
          <p:spPr>
            <a:xfrm>
              <a:off x="2730751" y="4521794"/>
              <a:ext cx="154319" cy="345056"/>
            </a:xfrm>
            <a:custGeom>
              <a:avLst/>
              <a:gdLst>
                <a:gd name="connsiteX0" fmla="*/ 0 w 154319"/>
                <a:gd name="connsiteY0" fmla="*/ 345056 h 345056"/>
                <a:gd name="connsiteX1" fmla="*/ 2910 w 154319"/>
                <a:gd name="connsiteY1" fmla="*/ 345056 h 345056"/>
                <a:gd name="connsiteX2" fmla="*/ 154319 w 154319"/>
                <a:gd name="connsiteY2" fmla="*/ 290117 h 345056"/>
                <a:gd name="connsiteX3" fmla="*/ 154319 w 154319"/>
                <a:gd name="connsiteY3" fmla="*/ 0 h 345056"/>
                <a:gd name="connsiteX4" fmla="*/ 0 w 154319"/>
                <a:gd name="connsiteY4" fmla="*/ 0 h 345056"/>
                <a:gd name="connsiteX5" fmla="*/ 0 w 154319"/>
                <a:gd name="connsiteY5" fmla="*/ 345056 h 345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319" h="345056">
                  <a:moveTo>
                    <a:pt x="0" y="345056"/>
                  </a:moveTo>
                  <a:lnTo>
                    <a:pt x="2910" y="345056"/>
                  </a:lnTo>
                  <a:cubicBezTo>
                    <a:pt x="87350" y="345056"/>
                    <a:pt x="154319" y="320961"/>
                    <a:pt x="154319" y="290117"/>
                  </a:cubicBezTo>
                  <a:lnTo>
                    <a:pt x="154319" y="0"/>
                  </a:lnTo>
                  <a:lnTo>
                    <a:pt x="0" y="0"/>
                  </a:lnTo>
                  <a:lnTo>
                    <a:pt x="0" y="345056"/>
                  </a:lnTo>
                  <a:close/>
                </a:path>
              </a:pathLst>
            </a:custGeom>
            <a:solidFill>
              <a:srgbClr val="FFDC80"/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546A852E-9AA2-48BB-BC47-CC63E4442C12}"/>
                </a:ext>
              </a:extLst>
            </p:cNvPr>
            <p:cNvSpPr/>
            <p:nvPr/>
          </p:nvSpPr>
          <p:spPr>
            <a:xfrm>
              <a:off x="2580307" y="4467833"/>
              <a:ext cx="303782" cy="109868"/>
            </a:xfrm>
            <a:custGeom>
              <a:avLst/>
              <a:gdLst>
                <a:gd name="connsiteX0" fmla="*/ 303782 w 303782"/>
                <a:gd name="connsiteY0" fmla="*/ 54931 h 109868"/>
                <a:gd name="connsiteX1" fmla="*/ 152373 w 303782"/>
                <a:gd name="connsiteY1" fmla="*/ 109869 h 109868"/>
                <a:gd name="connsiteX2" fmla="*/ 0 w 303782"/>
                <a:gd name="connsiteY2" fmla="*/ 54931 h 109868"/>
                <a:gd name="connsiteX3" fmla="*/ 151409 w 303782"/>
                <a:gd name="connsiteY3" fmla="*/ 0 h 109868"/>
                <a:gd name="connsiteX4" fmla="*/ 303782 w 303782"/>
                <a:gd name="connsiteY4" fmla="*/ 54931 h 109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3782" h="109868">
                  <a:moveTo>
                    <a:pt x="303782" y="54931"/>
                  </a:moveTo>
                  <a:cubicBezTo>
                    <a:pt x="303782" y="84823"/>
                    <a:pt x="235848" y="109869"/>
                    <a:pt x="152373" y="109869"/>
                  </a:cubicBezTo>
                  <a:cubicBezTo>
                    <a:pt x="68915" y="109869"/>
                    <a:pt x="0" y="84823"/>
                    <a:pt x="0" y="54931"/>
                  </a:cubicBezTo>
                  <a:cubicBezTo>
                    <a:pt x="0" y="25046"/>
                    <a:pt x="67942" y="0"/>
                    <a:pt x="151409" y="0"/>
                  </a:cubicBezTo>
                  <a:cubicBezTo>
                    <a:pt x="235848" y="0"/>
                    <a:pt x="303782" y="25046"/>
                    <a:pt x="303782" y="54931"/>
                  </a:cubicBezTo>
                  <a:close/>
                </a:path>
              </a:pathLst>
            </a:custGeom>
            <a:solidFill>
              <a:srgbClr val="FFB900"/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6D1E8563-A7ED-4297-8E96-A7EE1908436B}"/>
                </a:ext>
              </a:extLst>
            </p:cNvPr>
            <p:cNvSpPr/>
            <p:nvPr/>
          </p:nvSpPr>
          <p:spPr>
            <a:xfrm>
              <a:off x="2612338" y="4483253"/>
              <a:ext cx="241660" cy="73253"/>
            </a:xfrm>
            <a:custGeom>
              <a:avLst/>
              <a:gdLst>
                <a:gd name="connsiteX0" fmla="*/ 241661 w 241660"/>
                <a:gd name="connsiteY0" fmla="*/ 36623 h 73253"/>
                <a:gd name="connsiteX1" fmla="*/ 121317 w 241660"/>
                <a:gd name="connsiteY1" fmla="*/ 73254 h 73253"/>
                <a:gd name="connsiteX2" fmla="*/ 0 w 241660"/>
                <a:gd name="connsiteY2" fmla="*/ 36623 h 73253"/>
                <a:gd name="connsiteX3" fmla="*/ 120344 w 241660"/>
                <a:gd name="connsiteY3" fmla="*/ 0 h 73253"/>
                <a:gd name="connsiteX4" fmla="*/ 241661 w 241660"/>
                <a:gd name="connsiteY4" fmla="*/ 36623 h 73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660" h="73253">
                  <a:moveTo>
                    <a:pt x="241661" y="36623"/>
                  </a:moveTo>
                  <a:cubicBezTo>
                    <a:pt x="241661" y="56878"/>
                    <a:pt x="187298" y="73254"/>
                    <a:pt x="121317" y="73254"/>
                  </a:cubicBezTo>
                  <a:cubicBezTo>
                    <a:pt x="55320" y="73254"/>
                    <a:pt x="0" y="56878"/>
                    <a:pt x="0" y="36623"/>
                  </a:cubicBezTo>
                  <a:cubicBezTo>
                    <a:pt x="0" y="16383"/>
                    <a:pt x="54348" y="0"/>
                    <a:pt x="120344" y="0"/>
                  </a:cubicBezTo>
                  <a:cubicBezTo>
                    <a:pt x="186341" y="0"/>
                    <a:pt x="241661" y="16383"/>
                    <a:pt x="241661" y="36623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357F8CF8-21B5-4C14-9CE2-45DE51AC818A}"/>
                </a:ext>
              </a:extLst>
            </p:cNvPr>
            <p:cNvSpPr/>
            <p:nvPr/>
          </p:nvSpPr>
          <p:spPr>
            <a:xfrm>
              <a:off x="2612338" y="4482286"/>
              <a:ext cx="240696" cy="58794"/>
            </a:xfrm>
            <a:custGeom>
              <a:avLst/>
              <a:gdLst>
                <a:gd name="connsiteX0" fmla="*/ 215460 w 240696"/>
                <a:gd name="connsiteY0" fmla="*/ 58795 h 58794"/>
                <a:gd name="connsiteX1" fmla="*/ 240696 w 240696"/>
                <a:gd name="connsiteY1" fmla="*/ 36623 h 58794"/>
                <a:gd name="connsiteX2" fmla="*/ 120352 w 240696"/>
                <a:gd name="connsiteY2" fmla="*/ 0 h 58794"/>
                <a:gd name="connsiteX3" fmla="*/ 0 w 240696"/>
                <a:gd name="connsiteY3" fmla="*/ 36623 h 58794"/>
                <a:gd name="connsiteX4" fmla="*/ 25236 w 240696"/>
                <a:gd name="connsiteY4" fmla="*/ 58795 h 58794"/>
                <a:gd name="connsiteX5" fmla="*/ 120352 w 240696"/>
                <a:gd name="connsiteY5" fmla="*/ 45302 h 58794"/>
                <a:gd name="connsiteX6" fmla="*/ 215460 w 240696"/>
                <a:gd name="connsiteY6" fmla="*/ 58795 h 58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0696" h="58794">
                  <a:moveTo>
                    <a:pt x="215460" y="58795"/>
                  </a:moveTo>
                  <a:cubicBezTo>
                    <a:pt x="231957" y="52048"/>
                    <a:pt x="240696" y="45302"/>
                    <a:pt x="240696" y="36623"/>
                  </a:cubicBezTo>
                  <a:cubicBezTo>
                    <a:pt x="240696" y="16383"/>
                    <a:pt x="186341" y="0"/>
                    <a:pt x="120352" y="0"/>
                  </a:cubicBezTo>
                  <a:cubicBezTo>
                    <a:pt x="54348" y="0"/>
                    <a:pt x="0" y="16383"/>
                    <a:pt x="0" y="36623"/>
                  </a:cubicBezTo>
                  <a:cubicBezTo>
                    <a:pt x="0" y="44336"/>
                    <a:pt x="9704" y="53014"/>
                    <a:pt x="25236" y="58795"/>
                  </a:cubicBezTo>
                  <a:cubicBezTo>
                    <a:pt x="47562" y="50124"/>
                    <a:pt x="81522" y="45302"/>
                    <a:pt x="120352" y="45302"/>
                  </a:cubicBezTo>
                  <a:cubicBezTo>
                    <a:pt x="159167" y="45302"/>
                    <a:pt x="194107" y="51082"/>
                    <a:pt x="215460" y="5879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5" name="Graphic 75">
              <a:extLst>
                <a:ext uri="{FF2B5EF4-FFF2-40B4-BE49-F238E27FC236}">
                  <a16:creationId xmlns:a16="http://schemas.microsoft.com/office/drawing/2014/main" xmlns="" id="{81A92520-194A-4D5A-8437-240EF6853764}"/>
                </a:ext>
              </a:extLst>
            </p:cNvPr>
            <p:cNvGrpSpPr/>
            <p:nvPr/>
          </p:nvGrpSpPr>
          <p:grpSpPr>
            <a:xfrm>
              <a:off x="2775117" y="4695620"/>
              <a:ext cx="240983" cy="257647"/>
              <a:chOff x="9950786" y="-2124188"/>
              <a:chExt cx="445770" cy="476592"/>
            </a:xfrm>
            <a:solidFill>
              <a:schemeClr val="tx1">
                <a:lumMod val="65000"/>
                <a:lumOff val="35000"/>
              </a:schemeClr>
            </a:solidFill>
          </p:grpSpPr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xmlns="" id="{615C63DD-C99B-44C1-AE48-EF00965CAA82}"/>
                  </a:ext>
                </a:extLst>
              </p:cNvPr>
              <p:cNvSpPr/>
              <p:nvPr/>
            </p:nvSpPr>
            <p:spPr>
              <a:xfrm>
                <a:off x="9950786" y="-2108605"/>
                <a:ext cx="445770" cy="461009"/>
              </a:xfrm>
              <a:custGeom>
                <a:avLst/>
                <a:gdLst>
                  <a:gd name="connsiteX0" fmla="*/ 377190 w 445770"/>
                  <a:gd name="connsiteY0" fmla="*/ 91440 h 461009"/>
                  <a:gd name="connsiteX1" fmla="*/ 381953 w 445770"/>
                  <a:gd name="connsiteY1" fmla="*/ 96203 h 461009"/>
                  <a:gd name="connsiteX2" fmla="*/ 405765 w 445770"/>
                  <a:gd name="connsiteY2" fmla="*/ 76200 h 461009"/>
                  <a:gd name="connsiteX3" fmla="*/ 445770 w 445770"/>
                  <a:gd name="connsiteY3" fmla="*/ 10478 h 461009"/>
                  <a:gd name="connsiteX4" fmla="*/ 435293 w 445770"/>
                  <a:gd name="connsiteY4" fmla="*/ 0 h 461009"/>
                  <a:gd name="connsiteX5" fmla="*/ 372428 w 445770"/>
                  <a:gd name="connsiteY5" fmla="*/ 41910 h 461009"/>
                  <a:gd name="connsiteX6" fmla="*/ 353378 w 445770"/>
                  <a:gd name="connsiteY6" fmla="*/ 66675 h 461009"/>
                  <a:gd name="connsiteX7" fmla="*/ 358140 w 445770"/>
                  <a:gd name="connsiteY7" fmla="*/ 71438 h 461009"/>
                  <a:gd name="connsiteX8" fmla="*/ 233363 w 445770"/>
                  <a:gd name="connsiteY8" fmla="*/ 200025 h 461009"/>
                  <a:gd name="connsiteX9" fmla="*/ 207645 w 445770"/>
                  <a:gd name="connsiteY9" fmla="*/ 173355 h 461009"/>
                  <a:gd name="connsiteX10" fmla="*/ 179070 w 445770"/>
                  <a:gd name="connsiteY10" fmla="*/ 202883 h 461009"/>
                  <a:gd name="connsiteX11" fmla="*/ 165735 w 445770"/>
                  <a:gd name="connsiteY11" fmla="*/ 243840 h 461009"/>
                  <a:gd name="connsiteX12" fmla="*/ 126683 w 445770"/>
                  <a:gd name="connsiteY12" fmla="*/ 258128 h 461009"/>
                  <a:gd name="connsiteX13" fmla="*/ 0 w 445770"/>
                  <a:gd name="connsiteY13" fmla="*/ 387668 h 461009"/>
                  <a:gd name="connsiteX14" fmla="*/ 70485 w 445770"/>
                  <a:gd name="connsiteY14" fmla="*/ 461010 h 461009"/>
                  <a:gd name="connsiteX15" fmla="*/ 196215 w 445770"/>
                  <a:gd name="connsiteY15" fmla="*/ 330518 h 461009"/>
                  <a:gd name="connsiteX16" fmla="*/ 210503 w 445770"/>
                  <a:gd name="connsiteY16" fmla="*/ 289560 h 461009"/>
                  <a:gd name="connsiteX17" fmla="*/ 249555 w 445770"/>
                  <a:gd name="connsiteY17" fmla="*/ 275273 h 461009"/>
                  <a:gd name="connsiteX18" fmla="*/ 278130 w 445770"/>
                  <a:gd name="connsiteY18" fmla="*/ 245745 h 461009"/>
                  <a:gd name="connsiteX19" fmla="*/ 252413 w 445770"/>
                  <a:gd name="connsiteY19" fmla="*/ 219075 h 461009"/>
                  <a:gd name="connsiteX20" fmla="*/ 377190 w 445770"/>
                  <a:gd name="connsiteY20" fmla="*/ 91440 h 461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45770" h="461009">
                    <a:moveTo>
                      <a:pt x="377190" y="91440"/>
                    </a:moveTo>
                    <a:lnTo>
                      <a:pt x="381953" y="96203"/>
                    </a:lnTo>
                    <a:lnTo>
                      <a:pt x="405765" y="76200"/>
                    </a:lnTo>
                    <a:lnTo>
                      <a:pt x="445770" y="10478"/>
                    </a:lnTo>
                    <a:lnTo>
                      <a:pt x="435293" y="0"/>
                    </a:lnTo>
                    <a:lnTo>
                      <a:pt x="372428" y="41910"/>
                    </a:lnTo>
                    <a:lnTo>
                      <a:pt x="353378" y="66675"/>
                    </a:lnTo>
                    <a:lnTo>
                      <a:pt x="358140" y="71438"/>
                    </a:lnTo>
                    <a:lnTo>
                      <a:pt x="233363" y="200025"/>
                    </a:lnTo>
                    <a:lnTo>
                      <a:pt x="207645" y="173355"/>
                    </a:lnTo>
                    <a:lnTo>
                      <a:pt x="179070" y="202883"/>
                    </a:lnTo>
                    <a:cubicBezTo>
                      <a:pt x="180975" y="217170"/>
                      <a:pt x="176213" y="232410"/>
                      <a:pt x="165735" y="243840"/>
                    </a:cubicBezTo>
                    <a:cubicBezTo>
                      <a:pt x="155258" y="255270"/>
                      <a:pt x="140018" y="260033"/>
                      <a:pt x="126683" y="258128"/>
                    </a:cubicBezTo>
                    <a:lnTo>
                      <a:pt x="0" y="387668"/>
                    </a:lnTo>
                    <a:lnTo>
                      <a:pt x="70485" y="461010"/>
                    </a:lnTo>
                    <a:lnTo>
                      <a:pt x="196215" y="330518"/>
                    </a:lnTo>
                    <a:cubicBezTo>
                      <a:pt x="194310" y="316230"/>
                      <a:pt x="199073" y="300990"/>
                      <a:pt x="210503" y="289560"/>
                    </a:cubicBezTo>
                    <a:cubicBezTo>
                      <a:pt x="220980" y="278130"/>
                      <a:pt x="236220" y="273368"/>
                      <a:pt x="249555" y="275273"/>
                    </a:cubicBezTo>
                    <a:lnTo>
                      <a:pt x="278130" y="245745"/>
                    </a:lnTo>
                    <a:lnTo>
                      <a:pt x="252413" y="219075"/>
                    </a:lnTo>
                    <a:lnTo>
                      <a:pt x="377190" y="9144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1" anchor="ctr"/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xmlns="" id="{46E59D18-8954-4B9F-B48C-DDE985E2406C}"/>
                  </a:ext>
                </a:extLst>
              </p:cNvPr>
              <p:cNvSpPr/>
              <p:nvPr/>
            </p:nvSpPr>
            <p:spPr>
              <a:xfrm>
                <a:off x="10191767" y="-1899054"/>
                <a:ext cx="203835" cy="227648"/>
              </a:xfrm>
              <a:custGeom>
                <a:avLst/>
                <a:gdLst>
                  <a:gd name="connsiteX0" fmla="*/ 124778 w 203834"/>
                  <a:gd name="connsiteY0" fmla="*/ 213360 h 227647"/>
                  <a:gd name="connsiteX1" fmla="*/ 190500 w 203834"/>
                  <a:gd name="connsiteY1" fmla="*/ 213360 h 227647"/>
                  <a:gd name="connsiteX2" fmla="*/ 203835 w 203834"/>
                  <a:gd name="connsiteY2" fmla="*/ 179070 h 227647"/>
                  <a:gd name="connsiteX3" fmla="*/ 190500 w 203834"/>
                  <a:gd name="connsiteY3" fmla="*/ 144780 h 227647"/>
                  <a:gd name="connsiteX4" fmla="*/ 49530 w 203834"/>
                  <a:gd name="connsiteY4" fmla="*/ 0 h 227647"/>
                  <a:gd name="connsiteX5" fmla="*/ 36195 w 203834"/>
                  <a:gd name="connsiteY5" fmla="*/ 14288 h 227647"/>
                  <a:gd name="connsiteX6" fmla="*/ 61913 w 203834"/>
                  <a:gd name="connsiteY6" fmla="*/ 40957 h 227647"/>
                  <a:gd name="connsiteX7" fmla="*/ 50483 w 203834"/>
                  <a:gd name="connsiteY7" fmla="*/ 51435 h 227647"/>
                  <a:gd name="connsiteX8" fmla="*/ 21908 w 203834"/>
                  <a:gd name="connsiteY8" fmla="*/ 80962 h 227647"/>
                  <a:gd name="connsiteX9" fmla="*/ 18097 w 203834"/>
                  <a:gd name="connsiteY9" fmla="*/ 84773 h 227647"/>
                  <a:gd name="connsiteX10" fmla="*/ 12383 w 203834"/>
                  <a:gd name="connsiteY10" fmla="*/ 83820 h 227647"/>
                  <a:gd name="connsiteX11" fmla="*/ 0 w 203834"/>
                  <a:gd name="connsiteY11" fmla="*/ 84773 h 227647"/>
                  <a:gd name="connsiteX12" fmla="*/ 124778 w 203834"/>
                  <a:gd name="connsiteY12" fmla="*/ 213360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3834" h="227647">
                    <a:moveTo>
                      <a:pt x="124778" y="213360"/>
                    </a:moveTo>
                    <a:cubicBezTo>
                      <a:pt x="142875" y="232410"/>
                      <a:pt x="172403" y="232410"/>
                      <a:pt x="190500" y="213360"/>
                    </a:cubicBezTo>
                    <a:cubicBezTo>
                      <a:pt x="200025" y="203835"/>
                      <a:pt x="203835" y="191453"/>
                      <a:pt x="203835" y="179070"/>
                    </a:cubicBezTo>
                    <a:cubicBezTo>
                      <a:pt x="203835" y="166687"/>
                      <a:pt x="199073" y="154305"/>
                      <a:pt x="190500" y="144780"/>
                    </a:cubicBezTo>
                    <a:lnTo>
                      <a:pt x="49530" y="0"/>
                    </a:lnTo>
                    <a:lnTo>
                      <a:pt x="36195" y="14288"/>
                    </a:lnTo>
                    <a:lnTo>
                      <a:pt x="61913" y="40957"/>
                    </a:lnTo>
                    <a:lnTo>
                      <a:pt x="50483" y="51435"/>
                    </a:lnTo>
                    <a:lnTo>
                      <a:pt x="21908" y="80962"/>
                    </a:lnTo>
                    <a:lnTo>
                      <a:pt x="18097" y="84773"/>
                    </a:lnTo>
                    <a:lnTo>
                      <a:pt x="12383" y="83820"/>
                    </a:lnTo>
                    <a:cubicBezTo>
                      <a:pt x="8572" y="83820"/>
                      <a:pt x="3810" y="83820"/>
                      <a:pt x="0" y="84773"/>
                    </a:cubicBezTo>
                    <a:lnTo>
                      <a:pt x="124778" y="2133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1" anchor="ctr"/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xmlns="" id="{2876E8DE-8EDD-477D-B1ED-2AFCAE49D3A3}"/>
                  </a:ext>
                </a:extLst>
              </p:cNvPr>
              <p:cNvSpPr/>
              <p:nvPr/>
            </p:nvSpPr>
            <p:spPr>
              <a:xfrm>
                <a:off x="9961857" y="-2124188"/>
                <a:ext cx="232768" cy="227037"/>
              </a:xfrm>
              <a:custGeom>
                <a:avLst/>
                <a:gdLst>
                  <a:gd name="connsiteX0" fmla="*/ 167045 w 232767"/>
                  <a:gd name="connsiteY0" fmla="*/ 29870 h 227037"/>
                  <a:gd name="connsiteX1" fmla="*/ 71795 w 232767"/>
                  <a:gd name="connsiteY1" fmla="*/ 3200 h 227037"/>
                  <a:gd name="connsiteX2" fmla="*/ 127992 w 232767"/>
                  <a:gd name="connsiteY2" fmla="*/ 60350 h 227037"/>
                  <a:gd name="connsiteX3" fmla="*/ 113705 w 232767"/>
                  <a:gd name="connsiteY3" fmla="*/ 116547 h 227037"/>
                  <a:gd name="connsiteX4" fmla="*/ 58460 w 232767"/>
                  <a:gd name="connsiteY4" fmla="*/ 131787 h 227037"/>
                  <a:gd name="connsiteX5" fmla="*/ 3215 w 232767"/>
                  <a:gd name="connsiteY5" fmla="*/ 74637 h 227037"/>
                  <a:gd name="connsiteX6" fmla="*/ 28932 w 232767"/>
                  <a:gd name="connsiteY6" fmla="*/ 172745 h 227037"/>
                  <a:gd name="connsiteX7" fmla="*/ 125135 w 232767"/>
                  <a:gd name="connsiteY7" fmla="*/ 198462 h 227037"/>
                  <a:gd name="connsiteX8" fmla="*/ 127040 w 232767"/>
                  <a:gd name="connsiteY8" fmla="*/ 200367 h 227037"/>
                  <a:gd name="connsiteX9" fmla="*/ 152757 w 232767"/>
                  <a:gd name="connsiteY9" fmla="*/ 227037 h 227037"/>
                  <a:gd name="connsiteX10" fmla="*/ 153710 w 232767"/>
                  <a:gd name="connsiteY10" fmla="*/ 218465 h 227037"/>
                  <a:gd name="connsiteX11" fmla="*/ 153710 w 232767"/>
                  <a:gd name="connsiteY11" fmla="*/ 213702 h 227037"/>
                  <a:gd name="connsiteX12" fmla="*/ 151805 w 232767"/>
                  <a:gd name="connsiteY12" fmla="*/ 209892 h 227037"/>
                  <a:gd name="connsiteX13" fmla="*/ 194667 w 232767"/>
                  <a:gd name="connsiteY13" fmla="*/ 165125 h 227037"/>
                  <a:gd name="connsiteX14" fmla="*/ 202287 w 232767"/>
                  <a:gd name="connsiteY14" fmla="*/ 173697 h 227037"/>
                  <a:gd name="connsiteX15" fmla="*/ 219432 w 232767"/>
                  <a:gd name="connsiteY15" fmla="*/ 191795 h 227037"/>
                  <a:gd name="connsiteX16" fmla="*/ 232767 w 232767"/>
                  <a:gd name="connsiteY16" fmla="*/ 177507 h 227037"/>
                  <a:gd name="connsiteX17" fmla="*/ 191810 w 232767"/>
                  <a:gd name="connsiteY17" fmla="*/ 133692 h 227037"/>
                  <a:gd name="connsiteX18" fmla="*/ 191810 w 232767"/>
                  <a:gd name="connsiteY18" fmla="*/ 133692 h 227037"/>
                  <a:gd name="connsiteX19" fmla="*/ 167045 w 232767"/>
                  <a:gd name="connsiteY19" fmla="*/ 29870 h 227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2767" h="227037">
                    <a:moveTo>
                      <a:pt x="167045" y="29870"/>
                    </a:moveTo>
                    <a:cubicBezTo>
                      <a:pt x="141327" y="3200"/>
                      <a:pt x="104180" y="-5373"/>
                      <a:pt x="71795" y="3200"/>
                    </a:cubicBezTo>
                    <a:lnTo>
                      <a:pt x="127992" y="60350"/>
                    </a:lnTo>
                    <a:lnTo>
                      <a:pt x="113705" y="116547"/>
                    </a:lnTo>
                    <a:lnTo>
                      <a:pt x="58460" y="131787"/>
                    </a:lnTo>
                    <a:lnTo>
                      <a:pt x="3215" y="74637"/>
                    </a:lnTo>
                    <a:cubicBezTo>
                      <a:pt x="-5358" y="108927"/>
                      <a:pt x="3215" y="146075"/>
                      <a:pt x="28932" y="172745"/>
                    </a:cubicBezTo>
                    <a:cubicBezTo>
                      <a:pt x="54650" y="199415"/>
                      <a:pt x="91797" y="207987"/>
                      <a:pt x="125135" y="198462"/>
                    </a:cubicBezTo>
                    <a:lnTo>
                      <a:pt x="127040" y="200367"/>
                    </a:lnTo>
                    <a:lnTo>
                      <a:pt x="152757" y="227037"/>
                    </a:lnTo>
                    <a:cubicBezTo>
                      <a:pt x="153710" y="224180"/>
                      <a:pt x="153710" y="221322"/>
                      <a:pt x="153710" y="218465"/>
                    </a:cubicBezTo>
                    <a:cubicBezTo>
                      <a:pt x="153710" y="216560"/>
                      <a:pt x="153710" y="215607"/>
                      <a:pt x="153710" y="213702"/>
                    </a:cubicBezTo>
                    <a:lnTo>
                      <a:pt x="151805" y="209892"/>
                    </a:lnTo>
                    <a:lnTo>
                      <a:pt x="194667" y="165125"/>
                    </a:lnTo>
                    <a:lnTo>
                      <a:pt x="202287" y="173697"/>
                    </a:lnTo>
                    <a:lnTo>
                      <a:pt x="219432" y="191795"/>
                    </a:lnTo>
                    <a:lnTo>
                      <a:pt x="232767" y="177507"/>
                    </a:lnTo>
                    <a:lnTo>
                      <a:pt x="191810" y="133692"/>
                    </a:lnTo>
                    <a:lnTo>
                      <a:pt x="191810" y="133692"/>
                    </a:lnTo>
                    <a:cubicBezTo>
                      <a:pt x="202287" y="98450"/>
                      <a:pt x="194667" y="58445"/>
                      <a:pt x="167045" y="29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1" anchor="ctr"/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99" name="Picture 9" descr="See the source image">
            <a:extLst>
              <a:ext uri="{FF2B5EF4-FFF2-40B4-BE49-F238E27FC236}">
                <a16:creationId xmlns:a16="http://schemas.microsoft.com/office/drawing/2014/main" xmlns="" id="{9399DD2F-78A1-4302-B4D9-6A3CCB27CC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340" y="1530596"/>
            <a:ext cx="494464" cy="485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2" descr="See the source image">
            <a:extLst>
              <a:ext uri="{FF2B5EF4-FFF2-40B4-BE49-F238E27FC236}">
                <a16:creationId xmlns:a16="http://schemas.microsoft.com/office/drawing/2014/main" xmlns="" id="{A32A2CEE-78AC-4EEC-8EF4-377C2C86D1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75208" y="1530596"/>
            <a:ext cx="1530639" cy="48543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xmlns="" id="{1ADA76A7-3C52-47C8-A3EA-B58513BF2D69}"/>
              </a:ext>
            </a:extLst>
          </p:cNvPr>
          <p:cNvCxnSpPr>
            <a:stCxn id="45" idx="2"/>
            <a:endCxn id="44" idx="1"/>
          </p:cNvCxnSpPr>
          <p:nvPr/>
        </p:nvCxnSpPr>
        <p:spPr>
          <a:xfrm flipH="1">
            <a:off x="9858969" y="3150107"/>
            <a:ext cx="0" cy="450711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headEnd type="arrow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xmlns="" id="{83A8D202-EF50-45F7-8AAA-4092FF50409D}"/>
              </a:ext>
            </a:extLst>
          </p:cNvPr>
          <p:cNvCxnSpPr>
            <a:cxnSpLocks/>
            <a:stCxn id="48" idx="2"/>
            <a:endCxn id="58" idx="0"/>
          </p:cNvCxnSpPr>
          <p:nvPr/>
        </p:nvCxnSpPr>
        <p:spPr>
          <a:xfrm flipH="1">
            <a:off x="6097577" y="3826956"/>
            <a:ext cx="0" cy="515649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xmlns="" id="{F586502E-035C-42C0-AB25-A6C84F0DF350}"/>
              </a:ext>
            </a:extLst>
          </p:cNvPr>
          <p:cNvCxnSpPr>
            <a:cxnSpLocks/>
            <a:stCxn id="44" idx="4"/>
            <a:endCxn id="48" idx="1"/>
          </p:cNvCxnSpPr>
          <p:nvPr/>
        </p:nvCxnSpPr>
        <p:spPr>
          <a:xfrm flipH="1" flipV="1">
            <a:off x="7735083" y="3260265"/>
            <a:ext cx="1726743" cy="650978"/>
          </a:xfrm>
          <a:prstGeom prst="bentConnector3">
            <a:avLst/>
          </a:prstGeom>
          <a:ln w="6350">
            <a:solidFill>
              <a:schemeClr val="bg1">
                <a:lumMod val="75000"/>
              </a:schemeClr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21">
            <a:extLst>
              <a:ext uri="{FF2B5EF4-FFF2-40B4-BE49-F238E27FC236}">
                <a16:creationId xmlns:a16="http://schemas.microsoft.com/office/drawing/2014/main" xmlns="" id="{701A396D-D51D-487B-A05A-A8AC5029CAF5}"/>
              </a:ext>
            </a:extLst>
          </p:cNvPr>
          <p:cNvCxnSpPr>
            <a:cxnSpLocks/>
            <a:stCxn id="48" idx="3"/>
            <a:endCxn id="56" idx="2"/>
          </p:cNvCxnSpPr>
          <p:nvPr/>
        </p:nvCxnSpPr>
        <p:spPr>
          <a:xfrm flipH="1" flipV="1">
            <a:off x="3501685" y="3108332"/>
            <a:ext cx="958386" cy="151933"/>
          </a:xfrm>
          <a:prstGeom prst="bentConnector3">
            <a:avLst>
              <a:gd name="adj1" fmla="val 44037"/>
            </a:avLst>
          </a:prstGeom>
          <a:ln w="6350">
            <a:solidFill>
              <a:schemeClr val="bg1">
                <a:lumMod val="75000"/>
              </a:schemeClr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nector: Elbow 105">
            <a:extLst>
              <a:ext uri="{FF2B5EF4-FFF2-40B4-BE49-F238E27FC236}">
                <a16:creationId xmlns:a16="http://schemas.microsoft.com/office/drawing/2014/main" xmlns="" id="{1CFC041C-576A-412E-9AFA-9AEFB6D40AF1}"/>
              </a:ext>
            </a:extLst>
          </p:cNvPr>
          <p:cNvCxnSpPr>
            <a:stCxn id="58" idx="3"/>
            <a:endCxn id="54" idx="2"/>
          </p:cNvCxnSpPr>
          <p:nvPr/>
        </p:nvCxnSpPr>
        <p:spPr>
          <a:xfrm flipH="1" flipV="1">
            <a:off x="3579919" y="4375415"/>
            <a:ext cx="880152" cy="480132"/>
          </a:xfrm>
          <a:prstGeom prst="bentConnector3">
            <a:avLst/>
          </a:prstGeom>
          <a:ln w="6350">
            <a:solidFill>
              <a:schemeClr val="bg1">
                <a:lumMod val="75000"/>
              </a:schemeClr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xmlns="" id="{4A6F047B-3653-4747-BB16-032C43A271AD}"/>
              </a:ext>
            </a:extLst>
          </p:cNvPr>
          <p:cNvCxnSpPr>
            <a:cxnSpLocks/>
            <a:stCxn id="44" idx="4"/>
          </p:cNvCxnSpPr>
          <p:nvPr/>
        </p:nvCxnSpPr>
        <p:spPr>
          <a:xfrm flipH="1">
            <a:off x="3579919" y="3911243"/>
            <a:ext cx="5881907" cy="108572"/>
          </a:xfrm>
          <a:prstGeom prst="bentConnector3">
            <a:avLst>
              <a:gd name="adj1" fmla="val 14698"/>
            </a:avLst>
          </a:prstGeom>
          <a:ln w="6350">
            <a:solidFill>
              <a:schemeClr val="bg1">
                <a:lumMod val="75000"/>
              </a:schemeClr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5CAFA0B8-B3E3-41F3-A216-75D4A3ED42D4}"/>
              </a:ext>
            </a:extLst>
          </p:cNvPr>
          <p:cNvSpPr txBox="1"/>
          <p:nvPr/>
        </p:nvSpPr>
        <p:spPr>
          <a:xfrm flipH="1">
            <a:off x="5716257" y="4094511"/>
            <a:ext cx="328616" cy="1938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1">
            <a:spAutoFit/>
          </a:bodyPr>
          <a:lstStyle/>
          <a:p>
            <a:pPr algn="r" rtl="1">
              <a:lnSpc>
                <a:spcPct val="90000"/>
              </a:lnSpc>
              <a:spcAft>
                <a:spcPts val="600"/>
              </a:spcAft>
            </a:pPr>
            <a:r>
              <a:rPr lang="ar-SA" sz="140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ETL</a:t>
            </a:r>
          </a:p>
        </p:txBody>
      </p:sp>
      <p:pic>
        <p:nvPicPr>
          <p:cNvPr id="78" name="Picture 12" descr="What is SQL Server Analysis Services? - {coding}Sight - Medium">
            <a:extLst>
              <a:ext uri="{FF2B5EF4-FFF2-40B4-BE49-F238E27FC236}">
                <a16:creationId xmlns:a16="http://schemas.microsoft.com/office/drawing/2014/main" xmlns="" id="{D2ED55FD-FE20-4624-934C-039E8824E7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443" y="1492496"/>
            <a:ext cx="1599220" cy="548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7303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2C08313-D0D6-4B21-9AA5-500CC5AB7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1"/>
          <a:lstStyle/>
          <a:p>
            <a:pPr rtl="1"/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بنية التحليلات الحديثة في </a:t>
            </a:r>
            <a:r>
              <a:rPr lang="ar-SA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Azur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6A37BE7B-92C4-42C5-9396-6A5F66AC4A38}"/>
              </a:ext>
            </a:extLst>
          </p:cNvPr>
          <p:cNvGrpSpPr/>
          <p:nvPr/>
        </p:nvGrpSpPr>
        <p:grpSpPr>
          <a:xfrm flipH="1">
            <a:off x="2790500" y="3244611"/>
            <a:ext cx="1222175" cy="786986"/>
            <a:chOff x="7128086" y="3441071"/>
            <a:chExt cx="1161715" cy="843113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xmlns="" id="{7661899C-6E04-4C29-926E-D9EE233F0C1E}"/>
                </a:ext>
              </a:extLst>
            </p:cNvPr>
            <p:cNvSpPr/>
            <p:nvPr/>
          </p:nvSpPr>
          <p:spPr>
            <a:xfrm>
              <a:off x="7128086" y="4036889"/>
              <a:ext cx="1161715" cy="247295"/>
            </a:xfrm>
            <a:prstGeom prst="rect">
              <a:avLst/>
            </a:prstGeom>
          </p:spPr>
          <p:txBody>
            <a:bodyPr wrap="square" rtlCol="1">
              <a:spAutoFit/>
            </a:bodyPr>
            <a:lstStyle/>
            <a:p>
              <a:pPr algn="r" defTabSz="950608" rtl="1">
                <a:defRPr/>
              </a:pPr>
              <a:r>
                <a:rPr lang="ar-SA" sz="900" kern="0" dirty="0">
                  <a:solidFill>
                    <a:srgbClr val="50505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  <a:rtl val="0"/>
                </a:rPr>
                <a:t>Azure Databricks</a:t>
              </a:r>
            </a:p>
          </p:txBody>
        </p:sp>
        <p:pic>
          <p:nvPicPr>
            <p:cNvPr id="117" name="Picture 116">
              <a:extLst>
                <a:ext uri="{FF2B5EF4-FFF2-40B4-BE49-F238E27FC236}">
                  <a16:creationId xmlns:a16="http://schemas.microsoft.com/office/drawing/2014/main" xmlns="" id="{03293EA1-315B-4E17-9167-6BA9C4180FD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43831" y="3441071"/>
              <a:ext cx="670390" cy="673651"/>
            </a:xfrm>
            <a:prstGeom prst="rect">
              <a:avLst/>
            </a:prstGeom>
          </p:spPr>
        </p:pic>
      </p:grpSp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630CB75A-BFAE-47B0-8144-0C020F71856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9408" y="2632830"/>
            <a:ext cx="746632" cy="388627"/>
          </a:xfrm>
          <a:prstGeom prst="rect">
            <a:avLst/>
          </a:prstGeom>
        </p:spPr>
      </p:pic>
      <p:pic>
        <p:nvPicPr>
          <p:cNvPr id="3077" name="Picture 5" descr="See the source image">
            <a:extLst>
              <a:ext uri="{FF2B5EF4-FFF2-40B4-BE49-F238E27FC236}">
                <a16:creationId xmlns:a16="http://schemas.microsoft.com/office/drawing/2014/main" xmlns="" id="{40C0E7A8-67CF-436E-B226-86773949E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1321" y="4192862"/>
            <a:ext cx="1099362" cy="575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62" name="Rectangle 2061">
            <a:extLst>
              <a:ext uri="{FF2B5EF4-FFF2-40B4-BE49-F238E27FC236}">
                <a16:creationId xmlns:a16="http://schemas.microsoft.com/office/drawing/2014/main" xmlns="" id="{6B93306F-8334-49A0-B4A2-E184C1F75372}"/>
              </a:ext>
            </a:extLst>
          </p:cNvPr>
          <p:cNvSpPr/>
          <p:nvPr/>
        </p:nvSpPr>
        <p:spPr>
          <a:xfrm flipH="1">
            <a:off x="803756" y="2781069"/>
            <a:ext cx="2145140" cy="199350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1" anchor="b"/>
          <a:lstStyle/>
          <a:p>
            <a:pPr algn="ctr" defTabSz="914049" rtl="1">
              <a:defRPr/>
            </a:pPr>
            <a:r>
              <a:rPr lang="ar-SA" sz="1176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Azure Synapse</a:t>
            </a:r>
            <a:r>
              <a:rPr lang="ar-SA" sz="1176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 التحليلات</a:t>
            </a:r>
            <a:endParaRPr lang="en-US" sz="1176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914049" rtl="1">
              <a:defRPr/>
            </a:pPr>
            <a:endParaRPr lang="en-US" sz="1176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81" name="Picture 9">
            <a:extLst>
              <a:ext uri="{FF2B5EF4-FFF2-40B4-BE49-F238E27FC236}">
                <a16:creationId xmlns:a16="http://schemas.microsoft.com/office/drawing/2014/main" xmlns="" id="{1D1365FC-A7F5-4803-927B-D7A32B211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8532" y="2920245"/>
            <a:ext cx="1129435" cy="1129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6D2851E4-8FC5-4C5E-98D8-C7FF25DF827F}"/>
              </a:ext>
            </a:extLst>
          </p:cNvPr>
          <p:cNvSpPr/>
          <p:nvPr/>
        </p:nvSpPr>
        <p:spPr bwMode="auto">
          <a:xfrm flipH="1">
            <a:off x="584984" y="1330111"/>
            <a:ext cx="3500835" cy="4938925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1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latin typeface="Arial" panose="020B0604020202020204" pitchFamily="34" charset="0"/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7BCAE274-1E6B-4582-BFD7-FE5E2E21AB0C}"/>
              </a:ext>
            </a:extLst>
          </p:cNvPr>
          <p:cNvSpPr/>
          <p:nvPr/>
        </p:nvSpPr>
        <p:spPr bwMode="auto">
          <a:xfrm flipH="1">
            <a:off x="8108552" y="1335197"/>
            <a:ext cx="3500835" cy="4923185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1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latin typeface="Arial" panose="020B0604020202020204" pitchFamily="34" charset="0"/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AA363F34-1B68-44B8-819B-C1D9B7C7F8E5}"/>
              </a:ext>
            </a:extLst>
          </p:cNvPr>
          <p:cNvSpPr/>
          <p:nvPr/>
        </p:nvSpPr>
        <p:spPr bwMode="auto">
          <a:xfrm flipH="1">
            <a:off x="4347159" y="1330111"/>
            <a:ext cx="3500835" cy="493892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1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chemeClr val="tx1"/>
              </a:solidFill>
              <a:latin typeface="Arial" panose="020B0604020202020204" pitchFamily="34" charset="0"/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xmlns="" id="{47724E94-CB64-4F87-8349-DDAB3968255B}"/>
              </a:ext>
            </a:extLst>
          </p:cNvPr>
          <p:cNvSpPr/>
          <p:nvPr/>
        </p:nvSpPr>
        <p:spPr bwMode="auto">
          <a:xfrm flipH="1">
            <a:off x="8108552" y="5556737"/>
            <a:ext cx="3500835" cy="71229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7" tIns="45720" rIns="91427" bIns="45720" numCol="1" rtl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76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ar-SA" sz="2000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المرحلة </a:t>
            </a:r>
            <a:r>
              <a:rPr lang="" sz="2000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1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xmlns="" id="{D464508E-9FD3-4E19-9261-3C01387DC920}"/>
              </a:ext>
            </a:extLst>
          </p:cNvPr>
          <p:cNvSpPr/>
          <p:nvPr/>
        </p:nvSpPr>
        <p:spPr bwMode="auto">
          <a:xfrm flipH="1">
            <a:off x="4347159" y="5556737"/>
            <a:ext cx="3500835" cy="71229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7" tIns="45720" rIns="91427" bIns="45720" numCol="1" rtl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76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ar-SA" sz="2000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المرحلة </a:t>
            </a:r>
            <a:r>
              <a:rPr lang="" sz="2000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2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xmlns="" id="{F8C15949-CBDC-49BE-96C3-3A33F69F0909}"/>
              </a:ext>
            </a:extLst>
          </p:cNvPr>
          <p:cNvSpPr/>
          <p:nvPr/>
        </p:nvSpPr>
        <p:spPr bwMode="auto">
          <a:xfrm flipH="1">
            <a:off x="584984" y="5556737"/>
            <a:ext cx="3500835" cy="712299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7" tIns="45720" rIns="91427" bIns="45720" numCol="1" rtl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76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ar-SA" sz="2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المرحلة </a:t>
            </a:r>
            <a:r>
              <a:rPr lang="" sz="2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3</a:t>
            </a:r>
          </a:p>
        </p:txBody>
      </p:sp>
      <p:pic>
        <p:nvPicPr>
          <p:cNvPr id="82" name="Graphic 81" descr="Power BI Dashboard">
            <a:extLst>
              <a:ext uri="{FF2B5EF4-FFF2-40B4-BE49-F238E27FC236}">
                <a16:creationId xmlns:a16="http://schemas.microsoft.com/office/drawing/2014/main" xmlns="" id="{E0EBCC15-9D6B-4B82-9CFD-53EB16D04E2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713966" y="1583491"/>
            <a:ext cx="339959" cy="362130"/>
          </a:xfrm>
          <a:prstGeom prst="rect">
            <a:avLst/>
          </a:prstGeom>
        </p:spPr>
      </p:pic>
      <p:grpSp>
        <p:nvGrpSpPr>
          <p:cNvPr id="83" name="Group 82">
            <a:extLst>
              <a:ext uri="{FF2B5EF4-FFF2-40B4-BE49-F238E27FC236}">
                <a16:creationId xmlns:a16="http://schemas.microsoft.com/office/drawing/2014/main" xmlns="" id="{31B59D82-982D-4C7D-9A42-E3C8F60DF08B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4494961" y="2104041"/>
            <a:ext cx="334976" cy="362130"/>
            <a:chOff x="10779316" y="2588602"/>
            <a:chExt cx="624816" cy="675466"/>
          </a:xfrm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23A34CDB-1160-4978-BBC5-F3430534E368}"/>
                </a:ext>
              </a:extLst>
            </p:cNvPr>
            <p:cNvSpPr/>
            <p:nvPr/>
          </p:nvSpPr>
          <p:spPr>
            <a:xfrm>
              <a:off x="10779316" y="2588602"/>
              <a:ext cx="624816" cy="675466"/>
            </a:xfrm>
            <a:custGeom>
              <a:avLst/>
              <a:gdLst>
                <a:gd name="connsiteX0" fmla="*/ 466133 w 624816"/>
                <a:gd name="connsiteY0" fmla="*/ 98151 h 675466"/>
                <a:gd name="connsiteX1" fmla="*/ 516687 w 624816"/>
                <a:gd name="connsiteY1" fmla="*/ 70588 h 675466"/>
                <a:gd name="connsiteX2" fmla="*/ 518331 w 624816"/>
                <a:gd name="connsiteY2" fmla="*/ 60046 h 675466"/>
                <a:gd name="connsiteX3" fmla="*/ 518331 w 624816"/>
                <a:gd name="connsiteY3" fmla="*/ 36035 h 675466"/>
                <a:gd name="connsiteX4" fmla="*/ 469787 w 624816"/>
                <a:gd name="connsiteY4" fmla="*/ 1062 h 675466"/>
                <a:gd name="connsiteX5" fmla="*/ 168079 w 624816"/>
                <a:gd name="connsiteY5" fmla="*/ 1062 h 675466"/>
                <a:gd name="connsiteX6" fmla="*/ 116314 w 624816"/>
                <a:gd name="connsiteY6" fmla="*/ 33841 h 675466"/>
                <a:gd name="connsiteX7" fmla="*/ 115881 w 624816"/>
                <a:gd name="connsiteY7" fmla="*/ 36035 h 675466"/>
                <a:gd name="connsiteX8" fmla="*/ 115881 w 624816"/>
                <a:gd name="connsiteY8" fmla="*/ 62656 h 675466"/>
                <a:gd name="connsiteX9" fmla="*/ 158805 w 624816"/>
                <a:gd name="connsiteY9" fmla="*/ 99918 h 675466"/>
                <a:gd name="connsiteX10" fmla="*/ 168079 w 624816"/>
                <a:gd name="connsiteY10" fmla="*/ 98151 h 675466"/>
                <a:gd name="connsiteX11" fmla="*/ 168079 w 624816"/>
                <a:gd name="connsiteY11" fmla="*/ 257879 h 675466"/>
                <a:gd name="connsiteX12" fmla="*/ 0 w 624816"/>
                <a:gd name="connsiteY12" fmla="*/ 581510 h 675466"/>
                <a:gd name="connsiteX13" fmla="*/ 63682 w 624816"/>
                <a:gd name="connsiteY13" fmla="*/ 675467 h 675466"/>
                <a:gd name="connsiteX14" fmla="*/ 559568 w 624816"/>
                <a:gd name="connsiteY14" fmla="*/ 675467 h 675466"/>
                <a:gd name="connsiteX15" fmla="*/ 624816 w 624816"/>
                <a:gd name="connsiteY15" fmla="*/ 581510 h 675466"/>
                <a:gd name="connsiteX16" fmla="*/ 466133 w 624816"/>
                <a:gd name="connsiteY16" fmla="*/ 257879 h 675466"/>
                <a:gd name="connsiteX17" fmla="*/ 466133 w 624816"/>
                <a:gd name="connsiteY17" fmla="*/ 98151 h 675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24816" h="675466">
                  <a:moveTo>
                    <a:pt x="466133" y="98151"/>
                  </a:moveTo>
                  <a:cubicBezTo>
                    <a:pt x="487706" y="104500"/>
                    <a:pt x="510340" y="92159"/>
                    <a:pt x="516687" y="70588"/>
                  </a:cubicBezTo>
                  <a:cubicBezTo>
                    <a:pt x="517694" y="67161"/>
                    <a:pt x="518248" y="63617"/>
                    <a:pt x="518331" y="60046"/>
                  </a:cubicBezTo>
                  <a:lnTo>
                    <a:pt x="518331" y="36035"/>
                  </a:lnTo>
                  <a:cubicBezTo>
                    <a:pt x="513409" y="13721"/>
                    <a:pt x="492509" y="-1334"/>
                    <a:pt x="469787" y="1062"/>
                  </a:cubicBezTo>
                  <a:lnTo>
                    <a:pt x="168079" y="1062"/>
                  </a:lnTo>
                  <a:cubicBezTo>
                    <a:pt x="144733" y="-4181"/>
                    <a:pt x="121557" y="10495"/>
                    <a:pt x="116314" y="33841"/>
                  </a:cubicBezTo>
                  <a:cubicBezTo>
                    <a:pt x="116151" y="34568"/>
                    <a:pt x="116006" y="35300"/>
                    <a:pt x="115881" y="36035"/>
                  </a:cubicBezTo>
                  <a:lnTo>
                    <a:pt x="115881" y="62656"/>
                  </a:lnTo>
                  <a:cubicBezTo>
                    <a:pt x="117445" y="84799"/>
                    <a:pt x="136662" y="101482"/>
                    <a:pt x="158805" y="99918"/>
                  </a:cubicBezTo>
                  <a:cubicBezTo>
                    <a:pt x="161955" y="99695"/>
                    <a:pt x="165068" y="99102"/>
                    <a:pt x="168079" y="98151"/>
                  </a:cubicBezTo>
                  <a:lnTo>
                    <a:pt x="168079" y="257879"/>
                  </a:lnTo>
                  <a:lnTo>
                    <a:pt x="0" y="581510"/>
                  </a:lnTo>
                  <a:lnTo>
                    <a:pt x="63682" y="675467"/>
                  </a:lnTo>
                  <a:lnTo>
                    <a:pt x="559568" y="675467"/>
                  </a:lnTo>
                  <a:lnTo>
                    <a:pt x="624816" y="581510"/>
                  </a:lnTo>
                  <a:lnTo>
                    <a:pt x="466133" y="257879"/>
                  </a:lnTo>
                  <a:lnTo>
                    <a:pt x="466133" y="98151"/>
                  </a:lnTo>
                  <a:close/>
                </a:path>
              </a:pathLst>
            </a:custGeom>
            <a:solidFill>
              <a:schemeClr val="tx2"/>
            </a:solidFill>
            <a:ln w="51858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C74ED258-8504-44AC-B18E-3D23E7713967}"/>
                </a:ext>
              </a:extLst>
            </p:cNvPr>
            <p:cNvSpPr/>
            <p:nvPr/>
          </p:nvSpPr>
          <p:spPr>
            <a:xfrm>
              <a:off x="10875362" y="2687275"/>
              <a:ext cx="385224" cy="481792"/>
            </a:xfrm>
            <a:custGeom>
              <a:avLst/>
              <a:gdLst>
                <a:gd name="connsiteX0" fmla="*/ 385225 w 385224"/>
                <a:gd name="connsiteY0" fmla="*/ 358082 h 481792"/>
                <a:gd name="connsiteX1" fmla="*/ 176953 w 385224"/>
                <a:gd name="connsiteY1" fmla="*/ 358082 h 481792"/>
                <a:gd name="connsiteX2" fmla="*/ 101787 w 385224"/>
                <a:gd name="connsiteY2" fmla="*/ 481792 h 481792"/>
                <a:gd name="connsiteX3" fmla="*/ 0 w 385224"/>
                <a:gd name="connsiteY3" fmla="*/ 481792 h 481792"/>
                <a:gd name="connsiteX4" fmla="*/ 178519 w 385224"/>
                <a:gd name="connsiteY4" fmla="*/ 162859 h 481792"/>
                <a:gd name="connsiteX5" fmla="*/ 178519 w 385224"/>
                <a:gd name="connsiteY5" fmla="*/ 0 h 481792"/>
                <a:gd name="connsiteX6" fmla="*/ 281872 w 385224"/>
                <a:gd name="connsiteY6" fmla="*/ 0 h 481792"/>
                <a:gd name="connsiteX7" fmla="*/ 281872 w 385224"/>
                <a:gd name="connsiteY7" fmla="*/ 162859 h 481792"/>
                <a:gd name="connsiteX8" fmla="*/ 385225 w 385224"/>
                <a:gd name="connsiteY8" fmla="*/ 358082 h 481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224" h="481792">
                  <a:moveTo>
                    <a:pt x="385225" y="358082"/>
                  </a:moveTo>
                  <a:lnTo>
                    <a:pt x="176953" y="358082"/>
                  </a:lnTo>
                  <a:lnTo>
                    <a:pt x="101787" y="481792"/>
                  </a:lnTo>
                  <a:lnTo>
                    <a:pt x="0" y="481792"/>
                  </a:lnTo>
                  <a:lnTo>
                    <a:pt x="178519" y="162859"/>
                  </a:lnTo>
                  <a:lnTo>
                    <a:pt x="178519" y="0"/>
                  </a:lnTo>
                  <a:lnTo>
                    <a:pt x="281872" y="0"/>
                  </a:lnTo>
                  <a:lnTo>
                    <a:pt x="281872" y="162859"/>
                  </a:lnTo>
                  <a:lnTo>
                    <a:pt x="385225" y="358082"/>
                  </a:lnTo>
                  <a:close/>
                </a:path>
              </a:pathLst>
            </a:custGeom>
            <a:solidFill>
              <a:schemeClr val="bg1"/>
            </a:solidFill>
            <a:ln w="51858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1" name="Picture 2" descr="See the source image">
            <a:extLst>
              <a:ext uri="{FF2B5EF4-FFF2-40B4-BE49-F238E27FC236}">
                <a16:creationId xmlns:a16="http://schemas.microsoft.com/office/drawing/2014/main" xmlns="" id="{0F590ED9-B367-4E14-9884-153F0AB43A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862347" y="1530596"/>
            <a:ext cx="1530639" cy="48543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9" descr="See the source image">
            <a:extLst>
              <a:ext uri="{FF2B5EF4-FFF2-40B4-BE49-F238E27FC236}">
                <a16:creationId xmlns:a16="http://schemas.microsoft.com/office/drawing/2014/main" xmlns="" id="{0C5CBBB8-DA08-48F7-9BE5-0469618C1A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5848" y="1530596"/>
            <a:ext cx="494464" cy="485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2" descr="See the source image">
            <a:extLst>
              <a:ext uri="{FF2B5EF4-FFF2-40B4-BE49-F238E27FC236}">
                <a16:creationId xmlns:a16="http://schemas.microsoft.com/office/drawing/2014/main" xmlns="" id="{EE89A1FD-CC58-4CAD-825E-BFD40D5AE3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34408" y="1530596"/>
            <a:ext cx="1530639" cy="48543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" name="Graphic 123" descr="Power BI Dashboard">
            <a:extLst>
              <a:ext uri="{FF2B5EF4-FFF2-40B4-BE49-F238E27FC236}">
                <a16:creationId xmlns:a16="http://schemas.microsoft.com/office/drawing/2014/main" xmlns="" id="{66B519CF-F5B6-43A0-89A9-7B4051D0F36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655839" y="1592246"/>
            <a:ext cx="339959" cy="362130"/>
          </a:xfrm>
          <a:prstGeom prst="rect">
            <a:avLst/>
          </a:prstGeom>
        </p:spPr>
      </p:pic>
      <p:grpSp>
        <p:nvGrpSpPr>
          <p:cNvPr id="125" name="Group 124">
            <a:extLst>
              <a:ext uri="{FF2B5EF4-FFF2-40B4-BE49-F238E27FC236}">
                <a16:creationId xmlns:a16="http://schemas.microsoft.com/office/drawing/2014/main" xmlns="" id="{02B746BF-740D-4069-8B39-A85A846D7453}"/>
              </a:ext>
            </a:extLst>
          </p:cNvPr>
          <p:cNvGrpSpPr/>
          <p:nvPr/>
        </p:nvGrpSpPr>
        <p:grpSpPr>
          <a:xfrm>
            <a:off x="5081413" y="1538067"/>
            <a:ext cx="435816" cy="485430"/>
            <a:chOff x="2580307" y="4467833"/>
            <a:chExt cx="435816" cy="485430"/>
          </a:xfrm>
        </p:grpSpPr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xmlns="" id="{6D5D9D02-DC9E-40D0-87A5-B332A1F20CE5}"/>
                </a:ext>
              </a:extLst>
            </p:cNvPr>
            <p:cNvSpPr/>
            <p:nvPr/>
          </p:nvSpPr>
          <p:spPr>
            <a:xfrm>
              <a:off x="2581275" y="4522761"/>
              <a:ext cx="151416" cy="345064"/>
            </a:xfrm>
            <a:custGeom>
              <a:avLst/>
              <a:gdLst>
                <a:gd name="connsiteX0" fmla="*/ 0 w 151416"/>
                <a:gd name="connsiteY0" fmla="*/ 0 h 345064"/>
                <a:gd name="connsiteX1" fmla="*/ 0 w 151416"/>
                <a:gd name="connsiteY1" fmla="*/ 290125 h 345064"/>
                <a:gd name="connsiteX2" fmla="*/ 151417 w 151416"/>
                <a:gd name="connsiteY2" fmla="*/ 345064 h 345064"/>
                <a:gd name="connsiteX3" fmla="*/ 151417 w 151416"/>
                <a:gd name="connsiteY3" fmla="*/ 0 h 345064"/>
                <a:gd name="connsiteX4" fmla="*/ 0 w 151416"/>
                <a:gd name="connsiteY4" fmla="*/ 0 h 345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416" h="345064">
                  <a:moveTo>
                    <a:pt x="0" y="0"/>
                  </a:moveTo>
                  <a:lnTo>
                    <a:pt x="0" y="290125"/>
                  </a:lnTo>
                  <a:cubicBezTo>
                    <a:pt x="0" y="320968"/>
                    <a:pt x="67934" y="345064"/>
                    <a:pt x="151417" y="345064"/>
                  </a:cubicBezTo>
                  <a:lnTo>
                    <a:pt x="1514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xmlns="" id="{2A512325-D13E-4EBE-9CED-6FCB4682B345}"/>
                </a:ext>
              </a:extLst>
            </p:cNvPr>
            <p:cNvSpPr/>
            <p:nvPr/>
          </p:nvSpPr>
          <p:spPr>
            <a:xfrm>
              <a:off x="2730751" y="4521794"/>
              <a:ext cx="154319" cy="345056"/>
            </a:xfrm>
            <a:custGeom>
              <a:avLst/>
              <a:gdLst>
                <a:gd name="connsiteX0" fmla="*/ 0 w 154319"/>
                <a:gd name="connsiteY0" fmla="*/ 345056 h 345056"/>
                <a:gd name="connsiteX1" fmla="*/ 2910 w 154319"/>
                <a:gd name="connsiteY1" fmla="*/ 345056 h 345056"/>
                <a:gd name="connsiteX2" fmla="*/ 154319 w 154319"/>
                <a:gd name="connsiteY2" fmla="*/ 290117 h 345056"/>
                <a:gd name="connsiteX3" fmla="*/ 154319 w 154319"/>
                <a:gd name="connsiteY3" fmla="*/ 0 h 345056"/>
                <a:gd name="connsiteX4" fmla="*/ 0 w 154319"/>
                <a:gd name="connsiteY4" fmla="*/ 0 h 345056"/>
                <a:gd name="connsiteX5" fmla="*/ 0 w 154319"/>
                <a:gd name="connsiteY5" fmla="*/ 345056 h 345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319" h="345056">
                  <a:moveTo>
                    <a:pt x="0" y="345056"/>
                  </a:moveTo>
                  <a:lnTo>
                    <a:pt x="2910" y="345056"/>
                  </a:lnTo>
                  <a:cubicBezTo>
                    <a:pt x="87350" y="345056"/>
                    <a:pt x="154319" y="320961"/>
                    <a:pt x="154319" y="290117"/>
                  </a:cubicBezTo>
                  <a:lnTo>
                    <a:pt x="154319" y="0"/>
                  </a:lnTo>
                  <a:lnTo>
                    <a:pt x="0" y="0"/>
                  </a:lnTo>
                  <a:lnTo>
                    <a:pt x="0" y="345056"/>
                  </a:lnTo>
                  <a:close/>
                </a:path>
              </a:pathLst>
            </a:custGeom>
            <a:solidFill>
              <a:srgbClr val="FFDC80"/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xmlns="" id="{74BE64D8-C30E-444A-A497-7DEAB115FBDE}"/>
                </a:ext>
              </a:extLst>
            </p:cNvPr>
            <p:cNvSpPr/>
            <p:nvPr/>
          </p:nvSpPr>
          <p:spPr>
            <a:xfrm>
              <a:off x="2580307" y="4467833"/>
              <a:ext cx="303782" cy="109868"/>
            </a:xfrm>
            <a:custGeom>
              <a:avLst/>
              <a:gdLst>
                <a:gd name="connsiteX0" fmla="*/ 303782 w 303782"/>
                <a:gd name="connsiteY0" fmla="*/ 54931 h 109868"/>
                <a:gd name="connsiteX1" fmla="*/ 152373 w 303782"/>
                <a:gd name="connsiteY1" fmla="*/ 109869 h 109868"/>
                <a:gd name="connsiteX2" fmla="*/ 0 w 303782"/>
                <a:gd name="connsiteY2" fmla="*/ 54931 h 109868"/>
                <a:gd name="connsiteX3" fmla="*/ 151409 w 303782"/>
                <a:gd name="connsiteY3" fmla="*/ 0 h 109868"/>
                <a:gd name="connsiteX4" fmla="*/ 303782 w 303782"/>
                <a:gd name="connsiteY4" fmla="*/ 54931 h 109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3782" h="109868">
                  <a:moveTo>
                    <a:pt x="303782" y="54931"/>
                  </a:moveTo>
                  <a:cubicBezTo>
                    <a:pt x="303782" y="84823"/>
                    <a:pt x="235848" y="109869"/>
                    <a:pt x="152373" y="109869"/>
                  </a:cubicBezTo>
                  <a:cubicBezTo>
                    <a:pt x="68915" y="109869"/>
                    <a:pt x="0" y="84823"/>
                    <a:pt x="0" y="54931"/>
                  </a:cubicBezTo>
                  <a:cubicBezTo>
                    <a:pt x="0" y="25046"/>
                    <a:pt x="67942" y="0"/>
                    <a:pt x="151409" y="0"/>
                  </a:cubicBezTo>
                  <a:cubicBezTo>
                    <a:pt x="235848" y="0"/>
                    <a:pt x="303782" y="25046"/>
                    <a:pt x="303782" y="54931"/>
                  </a:cubicBezTo>
                  <a:close/>
                </a:path>
              </a:pathLst>
            </a:custGeom>
            <a:solidFill>
              <a:srgbClr val="FFB900"/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xmlns="" id="{0B00D34A-9B53-47A5-BF0B-118C6F6FCADB}"/>
                </a:ext>
              </a:extLst>
            </p:cNvPr>
            <p:cNvSpPr/>
            <p:nvPr/>
          </p:nvSpPr>
          <p:spPr>
            <a:xfrm>
              <a:off x="2612338" y="4483253"/>
              <a:ext cx="241660" cy="73253"/>
            </a:xfrm>
            <a:custGeom>
              <a:avLst/>
              <a:gdLst>
                <a:gd name="connsiteX0" fmla="*/ 241661 w 241660"/>
                <a:gd name="connsiteY0" fmla="*/ 36623 h 73253"/>
                <a:gd name="connsiteX1" fmla="*/ 121317 w 241660"/>
                <a:gd name="connsiteY1" fmla="*/ 73254 h 73253"/>
                <a:gd name="connsiteX2" fmla="*/ 0 w 241660"/>
                <a:gd name="connsiteY2" fmla="*/ 36623 h 73253"/>
                <a:gd name="connsiteX3" fmla="*/ 120344 w 241660"/>
                <a:gd name="connsiteY3" fmla="*/ 0 h 73253"/>
                <a:gd name="connsiteX4" fmla="*/ 241661 w 241660"/>
                <a:gd name="connsiteY4" fmla="*/ 36623 h 73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660" h="73253">
                  <a:moveTo>
                    <a:pt x="241661" y="36623"/>
                  </a:moveTo>
                  <a:cubicBezTo>
                    <a:pt x="241661" y="56878"/>
                    <a:pt x="187298" y="73254"/>
                    <a:pt x="121317" y="73254"/>
                  </a:cubicBezTo>
                  <a:cubicBezTo>
                    <a:pt x="55320" y="73254"/>
                    <a:pt x="0" y="56878"/>
                    <a:pt x="0" y="36623"/>
                  </a:cubicBezTo>
                  <a:cubicBezTo>
                    <a:pt x="0" y="16383"/>
                    <a:pt x="54348" y="0"/>
                    <a:pt x="120344" y="0"/>
                  </a:cubicBezTo>
                  <a:cubicBezTo>
                    <a:pt x="186341" y="0"/>
                    <a:pt x="241661" y="16383"/>
                    <a:pt x="241661" y="36623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xmlns="" id="{848348D1-C1D4-4491-851B-1BF30F39B39E}"/>
                </a:ext>
              </a:extLst>
            </p:cNvPr>
            <p:cNvSpPr/>
            <p:nvPr/>
          </p:nvSpPr>
          <p:spPr>
            <a:xfrm>
              <a:off x="2612338" y="4482286"/>
              <a:ext cx="240696" cy="58794"/>
            </a:xfrm>
            <a:custGeom>
              <a:avLst/>
              <a:gdLst>
                <a:gd name="connsiteX0" fmla="*/ 215460 w 240696"/>
                <a:gd name="connsiteY0" fmla="*/ 58795 h 58794"/>
                <a:gd name="connsiteX1" fmla="*/ 240696 w 240696"/>
                <a:gd name="connsiteY1" fmla="*/ 36623 h 58794"/>
                <a:gd name="connsiteX2" fmla="*/ 120352 w 240696"/>
                <a:gd name="connsiteY2" fmla="*/ 0 h 58794"/>
                <a:gd name="connsiteX3" fmla="*/ 0 w 240696"/>
                <a:gd name="connsiteY3" fmla="*/ 36623 h 58794"/>
                <a:gd name="connsiteX4" fmla="*/ 25236 w 240696"/>
                <a:gd name="connsiteY4" fmla="*/ 58795 h 58794"/>
                <a:gd name="connsiteX5" fmla="*/ 120352 w 240696"/>
                <a:gd name="connsiteY5" fmla="*/ 45302 h 58794"/>
                <a:gd name="connsiteX6" fmla="*/ 215460 w 240696"/>
                <a:gd name="connsiteY6" fmla="*/ 58795 h 58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0696" h="58794">
                  <a:moveTo>
                    <a:pt x="215460" y="58795"/>
                  </a:moveTo>
                  <a:cubicBezTo>
                    <a:pt x="231957" y="52048"/>
                    <a:pt x="240696" y="45302"/>
                    <a:pt x="240696" y="36623"/>
                  </a:cubicBezTo>
                  <a:cubicBezTo>
                    <a:pt x="240696" y="16383"/>
                    <a:pt x="186341" y="0"/>
                    <a:pt x="120352" y="0"/>
                  </a:cubicBezTo>
                  <a:cubicBezTo>
                    <a:pt x="54348" y="0"/>
                    <a:pt x="0" y="16383"/>
                    <a:pt x="0" y="36623"/>
                  </a:cubicBezTo>
                  <a:cubicBezTo>
                    <a:pt x="0" y="44336"/>
                    <a:pt x="9704" y="53014"/>
                    <a:pt x="25236" y="58795"/>
                  </a:cubicBezTo>
                  <a:cubicBezTo>
                    <a:pt x="47562" y="50124"/>
                    <a:pt x="81522" y="45302"/>
                    <a:pt x="120352" y="45302"/>
                  </a:cubicBezTo>
                  <a:cubicBezTo>
                    <a:pt x="159167" y="45302"/>
                    <a:pt x="194107" y="51082"/>
                    <a:pt x="215460" y="5879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31" name="Graphic 75">
              <a:extLst>
                <a:ext uri="{FF2B5EF4-FFF2-40B4-BE49-F238E27FC236}">
                  <a16:creationId xmlns:a16="http://schemas.microsoft.com/office/drawing/2014/main" xmlns="" id="{CAF0A979-A5E2-4BEA-9734-F261EF0FD42E}"/>
                </a:ext>
              </a:extLst>
            </p:cNvPr>
            <p:cNvGrpSpPr/>
            <p:nvPr/>
          </p:nvGrpSpPr>
          <p:grpSpPr>
            <a:xfrm>
              <a:off x="2775139" y="4695615"/>
              <a:ext cx="240984" cy="257648"/>
              <a:chOff x="9950786" y="-2124188"/>
              <a:chExt cx="445770" cy="476592"/>
            </a:xfrm>
            <a:solidFill>
              <a:schemeClr val="tx1">
                <a:lumMod val="65000"/>
                <a:lumOff val="35000"/>
              </a:schemeClr>
            </a:solidFill>
          </p:grpSpPr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xmlns="" id="{C74B7D88-30E1-4527-85F2-D942FDA2E12C}"/>
                  </a:ext>
                </a:extLst>
              </p:cNvPr>
              <p:cNvSpPr/>
              <p:nvPr/>
            </p:nvSpPr>
            <p:spPr>
              <a:xfrm>
                <a:off x="9950786" y="-2108605"/>
                <a:ext cx="445770" cy="461009"/>
              </a:xfrm>
              <a:custGeom>
                <a:avLst/>
                <a:gdLst>
                  <a:gd name="connsiteX0" fmla="*/ 377190 w 445770"/>
                  <a:gd name="connsiteY0" fmla="*/ 91440 h 461009"/>
                  <a:gd name="connsiteX1" fmla="*/ 381953 w 445770"/>
                  <a:gd name="connsiteY1" fmla="*/ 96203 h 461009"/>
                  <a:gd name="connsiteX2" fmla="*/ 405765 w 445770"/>
                  <a:gd name="connsiteY2" fmla="*/ 76200 h 461009"/>
                  <a:gd name="connsiteX3" fmla="*/ 445770 w 445770"/>
                  <a:gd name="connsiteY3" fmla="*/ 10478 h 461009"/>
                  <a:gd name="connsiteX4" fmla="*/ 435293 w 445770"/>
                  <a:gd name="connsiteY4" fmla="*/ 0 h 461009"/>
                  <a:gd name="connsiteX5" fmla="*/ 372428 w 445770"/>
                  <a:gd name="connsiteY5" fmla="*/ 41910 h 461009"/>
                  <a:gd name="connsiteX6" fmla="*/ 353378 w 445770"/>
                  <a:gd name="connsiteY6" fmla="*/ 66675 h 461009"/>
                  <a:gd name="connsiteX7" fmla="*/ 358140 w 445770"/>
                  <a:gd name="connsiteY7" fmla="*/ 71438 h 461009"/>
                  <a:gd name="connsiteX8" fmla="*/ 233363 w 445770"/>
                  <a:gd name="connsiteY8" fmla="*/ 200025 h 461009"/>
                  <a:gd name="connsiteX9" fmla="*/ 207645 w 445770"/>
                  <a:gd name="connsiteY9" fmla="*/ 173355 h 461009"/>
                  <a:gd name="connsiteX10" fmla="*/ 179070 w 445770"/>
                  <a:gd name="connsiteY10" fmla="*/ 202883 h 461009"/>
                  <a:gd name="connsiteX11" fmla="*/ 165735 w 445770"/>
                  <a:gd name="connsiteY11" fmla="*/ 243840 h 461009"/>
                  <a:gd name="connsiteX12" fmla="*/ 126683 w 445770"/>
                  <a:gd name="connsiteY12" fmla="*/ 258128 h 461009"/>
                  <a:gd name="connsiteX13" fmla="*/ 0 w 445770"/>
                  <a:gd name="connsiteY13" fmla="*/ 387668 h 461009"/>
                  <a:gd name="connsiteX14" fmla="*/ 70485 w 445770"/>
                  <a:gd name="connsiteY14" fmla="*/ 461010 h 461009"/>
                  <a:gd name="connsiteX15" fmla="*/ 196215 w 445770"/>
                  <a:gd name="connsiteY15" fmla="*/ 330518 h 461009"/>
                  <a:gd name="connsiteX16" fmla="*/ 210503 w 445770"/>
                  <a:gd name="connsiteY16" fmla="*/ 289560 h 461009"/>
                  <a:gd name="connsiteX17" fmla="*/ 249555 w 445770"/>
                  <a:gd name="connsiteY17" fmla="*/ 275273 h 461009"/>
                  <a:gd name="connsiteX18" fmla="*/ 278130 w 445770"/>
                  <a:gd name="connsiteY18" fmla="*/ 245745 h 461009"/>
                  <a:gd name="connsiteX19" fmla="*/ 252413 w 445770"/>
                  <a:gd name="connsiteY19" fmla="*/ 219075 h 461009"/>
                  <a:gd name="connsiteX20" fmla="*/ 377190 w 445770"/>
                  <a:gd name="connsiteY20" fmla="*/ 91440 h 461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45770" h="461009">
                    <a:moveTo>
                      <a:pt x="377190" y="91440"/>
                    </a:moveTo>
                    <a:lnTo>
                      <a:pt x="381953" y="96203"/>
                    </a:lnTo>
                    <a:lnTo>
                      <a:pt x="405765" y="76200"/>
                    </a:lnTo>
                    <a:lnTo>
                      <a:pt x="445770" y="10478"/>
                    </a:lnTo>
                    <a:lnTo>
                      <a:pt x="435293" y="0"/>
                    </a:lnTo>
                    <a:lnTo>
                      <a:pt x="372428" y="41910"/>
                    </a:lnTo>
                    <a:lnTo>
                      <a:pt x="353378" y="66675"/>
                    </a:lnTo>
                    <a:lnTo>
                      <a:pt x="358140" y="71438"/>
                    </a:lnTo>
                    <a:lnTo>
                      <a:pt x="233363" y="200025"/>
                    </a:lnTo>
                    <a:lnTo>
                      <a:pt x="207645" y="173355"/>
                    </a:lnTo>
                    <a:lnTo>
                      <a:pt x="179070" y="202883"/>
                    </a:lnTo>
                    <a:cubicBezTo>
                      <a:pt x="180975" y="217170"/>
                      <a:pt x="176213" y="232410"/>
                      <a:pt x="165735" y="243840"/>
                    </a:cubicBezTo>
                    <a:cubicBezTo>
                      <a:pt x="155258" y="255270"/>
                      <a:pt x="140018" y="260033"/>
                      <a:pt x="126683" y="258128"/>
                    </a:cubicBezTo>
                    <a:lnTo>
                      <a:pt x="0" y="387668"/>
                    </a:lnTo>
                    <a:lnTo>
                      <a:pt x="70485" y="461010"/>
                    </a:lnTo>
                    <a:lnTo>
                      <a:pt x="196215" y="330518"/>
                    </a:lnTo>
                    <a:cubicBezTo>
                      <a:pt x="194310" y="316230"/>
                      <a:pt x="199073" y="300990"/>
                      <a:pt x="210503" y="289560"/>
                    </a:cubicBezTo>
                    <a:cubicBezTo>
                      <a:pt x="220980" y="278130"/>
                      <a:pt x="236220" y="273368"/>
                      <a:pt x="249555" y="275273"/>
                    </a:cubicBezTo>
                    <a:lnTo>
                      <a:pt x="278130" y="245745"/>
                    </a:lnTo>
                    <a:lnTo>
                      <a:pt x="252413" y="219075"/>
                    </a:lnTo>
                    <a:lnTo>
                      <a:pt x="377190" y="9144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1" anchor="ctr"/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xmlns="" id="{8BA2C435-7C26-41F7-B0BE-98DADEF718F3}"/>
                  </a:ext>
                </a:extLst>
              </p:cNvPr>
              <p:cNvSpPr/>
              <p:nvPr/>
            </p:nvSpPr>
            <p:spPr>
              <a:xfrm>
                <a:off x="10191768" y="-1899055"/>
                <a:ext cx="203834" cy="227647"/>
              </a:xfrm>
              <a:custGeom>
                <a:avLst/>
                <a:gdLst>
                  <a:gd name="connsiteX0" fmla="*/ 124778 w 203834"/>
                  <a:gd name="connsiteY0" fmla="*/ 213360 h 227647"/>
                  <a:gd name="connsiteX1" fmla="*/ 190500 w 203834"/>
                  <a:gd name="connsiteY1" fmla="*/ 213360 h 227647"/>
                  <a:gd name="connsiteX2" fmla="*/ 203835 w 203834"/>
                  <a:gd name="connsiteY2" fmla="*/ 179070 h 227647"/>
                  <a:gd name="connsiteX3" fmla="*/ 190500 w 203834"/>
                  <a:gd name="connsiteY3" fmla="*/ 144780 h 227647"/>
                  <a:gd name="connsiteX4" fmla="*/ 49530 w 203834"/>
                  <a:gd name="connsiteY4" fmla="*/ 0 h 227647"/>
                  <a:gd name="connsiteX5" fmla="*/ 36195 w 203834"/>
                  <a:gd name="connsiteY5" fmla="*/ 14288 h 227647"/>
                  <a:gd name="connsiteX6" fmla="*/ 61913 w 203834"/>
                  <a:gd name="connsiteY6" fmla="*/ 40957 h 227647"/>
                  <a:gd name="connsiteX7" fmla="*/ 50483 w 203834"/>
                  <a:gd name="connsiteY7" fmla="*/ 51435 h 227647"/>
                  <a:gd name="connsiteX8" fmla="*/ 21908 w 203834"/>
                  <a:gd name="connsiteY8" fmla="*/ 80962 h 227647"/>
                  <a:gd name="connsiteX9" fmla="*/ 18097 w 203834"/>
                  <a:gd name="connsiteY9" fmla="*/ 84773 h 227647"/>
                  <a:gd name="connsiteX10" fmla="*/ 12383 w 203834"/>
                  <a:gd name="connsiteY10" fmla="*/ 83820 h 227647"/>
                  <a:gd name="connsiteX11" fmla="*/ 0 w 203834"/>
                  <a:gd name="connsiteY11" fmla="*/ 84773 h 227647"/>
                  <a:gd name="connsiteX12" fmla="*/ 124778 w 203834"/>
                  <a:gd name="connsiteY12" fmla="*/ 213360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3834" h="227647">
                    <a:moveTo>
                      <a:pt x="124778" y="213360"/>
                    </a:moveTo>
                    <a:cubicBezTo>
                      <a:pt x="142875" y="232410"/>
                      <a:pt x="172403" y="232410"/>
                      <a:pt x="190500" y="213360"/>
                    </a:cubicBezTo>
                    <a:cubicBezTo>
                      <a:pt x="200025" y="203835"/>
                      <a:pt x="203835" y="191453"/>
                      <a:pt x="203835" y="179070"/>
                    </a:cubicBezTo>
                    <a:cubicBezTo>
                      <a:pt x="203835" y="166687"/>
                      <a:pt x="199073" y="154305"/>
                      <a:pt x="190500" y="144780"/>
                    </a:cubicBezTo>
                    <a:lnTo>
                      <a:pt x="49530" y="0"/>
                    </a:lnTo>
                    <a:lnTo>
                      <a:pt x="36195" y="14288"/>
                    </a:lnTo>
                    <a:lnTo>
                      <a:pt x="61913" y="40957"/>
                    </a:lnTo>
                    <a:lnTo>
                      <a:pt x="50483" y="51435"/>
                    </a:lnTo>
                    <a:lnTo>
                      <a:pt x="21908" y="80962"/>
                    </a:lnTo>
                    <a:lnTo>
                      <a:pt x="18097" y="84773"/>
                    </a:lnTo>
                    <a:lnTo>
                      <a:pt x="12383" y="83820"/>
                    </a:lnTo>
                    <a:cubicBezTo>
                      <a:pt x="8572" y="83820"/>
                      <a:pt x="3810" y="83820"/>
                      <a:pt x="0" y="84773"/>
                    </a:cubicBezTo>
                    <a:lnTo>
                      <a:pt x="124778" y="2133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1" anchor="ctr"/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xmlns="" id="{27CC3D3D-B998-47C1-836B-FD2080772413}"/>
                  </a:ext>
                </a:extLst>
              </p:cNvPr>
              <p:cNvSpPr/>
              <p:nvPr/>
            </p:nvSpPr>
            <p:spPr>
              <a:xfrm>
                <a:off x="9961858" y="-2124188"/>
                <a:ext cx="232767" cy="227037"/>
              </a:xfrm>
              <a:custGeom>
                <a:avLst/>
                <a:gdLst>
                  <a:gd name="connsiteX0" fmla="*/ 167045 w 232767"/>
                  <a:gd name="connsiteY0" fmla="*/ 29870 h 227037"/>
                  <a:gd name="connsiteX1" fmla="*/ 71795 w 232767"/>
                  <a:gd name="connsiteY1" fmla="*/ 3200 h 227037"/>
                  <a:gd name="connsiteX2" fmla="*/ 127992 w 232767"/>
                  <a:gd name="connsiteY2" fmla="*/ 60350 h 227037"/>
                  <a:gd name="connsiteX3" fmla="*/ 113705 w 232767"/>
                  <a:gd name="connsiteY3" fmla="*/ 116547 h 227037"/>
                  <a:gd name="connsiteX4" fmla="*/ 58460 w 232767"/>
                  <a:gd name="connsiteY4" fmla="*/ 131787 h 227037"/>
                  <a:gd name="connsiteX5" fmla="*/ 3215 w 232767"/>
                  <a:gd name="connsiteY5" fmla="*/ 74637 h 227037"/>
                  <a:gd name="connsiteX6" fmla="*/ 28932 w 232767"/>
                  <a:gd name="connsiteY6" fmla="*/ 172745 h 227037"/>
                  <a:gd name="connsiteX7" fmla="*/ 125135 w 232767"/>
                  <a:gd name="connsiteY7" fmla="*/ 198462 h 227037"/>
                  <a:gd name="connsiteX8" fmla="*/ 127040 w 232767"/>
                  <a:gd name="connsiteY8" fmla="*/ 200367 h 227037"/>
                  <a:gd name="connsiteX9" fmla="*/ 152757 w 232767"/>
                  <a:gd name="connsiteY9" fmla="*/ 227037 h 227037"/>
                  <a:gd name="connsiteX10" fmla="*/ 153710 w 232767"/>
                  <a:gd name="connsiteY10" fmla="*/ 218465 h 227037"/>
                  <a:gd name="connsiteX11" fmla="*/ 153710 w 232767"/>
                  <a:gd name="connsiteY11" fmla="*/ 213702 h 227037"/>
                  <a:gd name="connsiteX12" fmla="*/ 151805 w 232767"/>
                  <a:gd name="connsiteY12" fmla="*/ 209892 h 227037"/>
                  <a:gd name="connsiteX13" fmla="*/ 194667 w 232767"/>
                  <a:gd name="connsiteY13" fmla="*/ 165125 h 227037"/>
                  <a:gd name="connsiteX14" fmla="*/ 202287 w 232767"/>
                  <a:gd name="connsiteY14" fmla="*/ 173697 h 227037"/>
                  <a:gd name="connsiteX15" fmla="*/ 219432 w 232767"/>
                  <a:gd name="connsiteY15" fmla="*/ 191795 h 227037"/>
                  <a:gd name="connsiteX16" fmla="*/ 232767 w 232767"/>
                  <a:gd name="connsiteY16" fmla="*/ 177507 h 227037"/>
                  <a:gd name="connsiteX17" fmla="*/ 191810 w 232767"/>
                  <a:gd name="connsiteY17" fmla="*/ 133692 h 227037"/>
                  <a:gd name="connsiteX18" fmla="*/ 191810 w 232767"/>
                  <a:gd name="connsiteY18" fmla="*/ 133692 h 227037"/>
                  <a:gd name="connsiteX19" fmla="*/ 167045 w 232767"/>
                  <a:gd name="connsiteY19" fmla="*/ 29870 h 227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2767" h="227037">
                    <a:moveTo>
                      <a:pt x="167045" y="29870"/>
                    </a:moveTo>
                    <a:cubicBezTo>
                      <a:pt x="141327" y="3200"/>
                      <a:pt x="104180" y="-5373"/>
                      <a:pt x="71795" y="3200"/>
                    </a:cubicBezTo>
                    <a:lnTo>
                      <a:pt x="127992" y="60350"/>
                    </a:lnTo>
                    <a:lnTo>
                      <a:pt x="113705" y="116547"/>
                    </a:lnTo>
                    <a:lnTo>
                      <a:pt x="58460" y="131787"/>
                    </a:lnTo>
                    <a:lnTo>
                      <a:pt x="3215" y="74637"/>
                    </a:lnTo>
                    <a:cubicBezTo>
                      <a:pt x="-5358" y="108927"/>
                      <a:pt x="3215" y="146075"/>
                      <a:pt x="28932" y="172745"/>
                    </a:cubicBezTo>
                    <a:cubicBezTo>
                      <a:pt x="54650" y="199415"/>
                      <a:pt x="91797" y="207987"/>
                      <a:pt x="125135" y="198462"/>
                    </a:cubicBezTo>
                    <a:lnTo>
                      <a:pt x="127040" y="200367"/>
                    </a:lnTo>
                    <a:lnTo>
                      <a:pt x="152757" y="227037"/>
                    </a:lnTo>
                    <a:cubicBezTo>
                      <a:pt x="153710" y="224180"/>
                      <a:pt x="153710" y="221322"/>
                      <a:pt x="153710" y="218465"/>
                    </a:cubicBezTo>
                    <a:cubicBezTo>
                      <a:pt x="153710" y="216560"/>
                      <a:pt x="153710" y="215607"/>
                      <a:pt x="153710" y="213702"/>
                    </a:cubicBezTo>
                    <a:lnTo>
                      <a:pt x="151805" y="209892"/>
                    </a:lnTo>
                    <a:lnTo>
                      <a:pt x="194667" y="165125"/>
                    </a:lnTo>
                    <a:lnTo>
                      <a:pt x="202287" y="173697"/>
                    </a:lnTo>
                    <a:lnTo>
                      <a:pt x="219432" y="191795"/>
                    </a:lnTo>
                    <a:lnTo>
                      <a:pt x="232767" y="177507"/>
                    </a:lnTo>
                    <a:lnTo>
                      <a:pt x="191810" y="133692"/>
                    </a:lnTo>
                    <a:lnTo>
                      <a:pt x="191810" y="133692"/>
                    </a:lnTo>
                    <a:cubicBezTo>
                      <a:pt x="202287" y="98450"/>
                      <a:pt x="194667" y="58445"/>
                      <a:pt x="167045" y="29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1" anchor="ctr"/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135" name="Picture 9" descr="See the source image">
            <a:extLst>
              <a:ext uri="{FF2B5EF4-FFF2-40B4-BE49-F238E27FC236}">
                <a16:creationId xmlns:a16="http://schemas.microsoft.com/office/drawing/2014/main" xmlns="" id="{A9498992-B05A-464B-A765-62C1B839BD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340" y="1530596"/>
            <a:ext cx="494464" cy="485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6" name="Group 145">
            <a:extLst>
              <a:ext uri="{FF2B5EF4-FFF2-40B4-BE49-F238E27FC236}">
                <a16:creationId xmlns:a16="http://schemas.microsoft.com/office/drawing/2014/main" xmlns="" id="{080743E1-E8C3-4439-928B-840BF7869A64}"/>
              </a:ext>
            </a:extLst>
          </p:cNvPr>
          <p:cNvGrpSpPr>
            <a:grpSpLocks noChangeAspect="1"/>
          </p:cNvGrpSpPr>
          <p:nvPr/>
        </p:nvGrpSpPr>
        <p:grpSpPr>
          <a:xfrm>
            <a:off x="3535148" y="1533203"/>
            <a:ext cx="334976" cy="362130"/>
            <a:chOff x="10779316" y="2588602"/>
            <a:chExt cx="624816" cy="675466"/>
          </a:xfrm>
        </p:grpSpPr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xmlns="" id="{59E5D00E-937C-47EC-B8FA-221D52CE9C19}"/>
                </a:ext>
              </a:extLst>
            </p:cNvPr>
            <p:cNvSpPr/>
            <p:nvPr/>
          </p:nvSpPr>
          <p:spPr>
            <a:xfrm>
              <a:off x="10779316" y="2588602"/>
              <a:ext cx="624816" cy="675466"/>
            </a:xfrm>
            <a:custGeom>
              <a:avLst/>
              <a:gdLst>
                <a:gd name="connsiteX0" fmla="*/ 466133 w 624816"/>
                <a:gd name="connsiteY0" fmla="*/ 98151 h 675466"/>
                <a:gd name="connsiteX1" fmla="*/ 516687 w 624816"/>
                <a:gd name="connsiteY1" fmla="*/ 70588 h 675466"/>
                <a:gd name="connsiteX2" fmla="*/ 518331 w 624816"/>
                <a:gd name="connsiteY2" fmla="*/ 60046 h 675466"/>
                <a:gd name="connsiteX3" fmla="*/ 518331 w 624816"/>
                <a:gd name="connsiteY3" fmla="*/ 36035 h 675466"/>
                <a:gd name="connsiteX4" fmla="*/ 469787 w 624816"/>
                <a:gd name="connsiteY4" fmla="*/ 1062 h 675466"/>
                <a:gd name="connsiteX5" fmla="*/ 168079 w 624816"/>
                <a:gd name="connsiteY5" fmla="*/ 1062 h 675466"/>
                <a:gd name="connsiteX6" fmla="*/ 116314 w 624816"/>
                <a:gd name="connsiteY6" fmla="*/ 33841 h 675466"/>
                <a:gd name="connsiteX7" fmla="*/ 115881 w 624816"/>
                <a:gd name="connsiteY7" fmla="*/ 36035 h 675466"/>
                <a:gd name="connsiteX8" fmla="*/ 115881 w 624816"/>
                <a:gd name="connsiteY8" fmla="*/ 62656 h 675466"/>
                <a:gd name="connsiteX9" fmla="*/ 158805 w 624816"/>
                <a:gd name="connsiteY9" fmla="*/ 99918 h 675466"/>
                <a:gd name="connsiteX10" fmla="*/ 168079 w 624816"/>
                <a:gd name="connsiteY10" fmla="*/ 98151 h 675466"/>
                <a:gd name="connsiteX11" fmla="*/ 168079 w 624816"/>
                <a:gd name="connsiteY11" fmla="*/ 257879 h 675466"/>
                <a:gd name="connsiteX12" fmla="*/ 0 w 624816"/>
                <a:gd name="connsiteY12" fmla="*/ 581510 h 675466"/>
                <a:gd name="connsiteX13" fmla="*/ 63682 w 624816"/>
                <a:gd name="connsiteY13" fmla="*/ 675467 h 675466"/>
                <a:gd name="connsiteX14" fmla="*/ 559568 w 624816"/>
                <a:gd name="connsiteY14" fmla="*/ 675467 h 675466"/>
                <a:gd name="connsiteX15" fmla="*/ 624816 w 624816"/>
                <a:gd name="connsiteY15" fmla="*/ 581510 h 675466"/>
                <a:gd name="connsiteX16" fmla="*/ 466133 w 624816"/>
                <a:gd name="connsiteY16" fmla="*/ 257879 h 675466"/>
                <a:gd name="connsiteX17" fmla="*/ 466133 w 624816"/>
                <a:gd name="connsiteY17" fmla="*/ 98151 h 675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24816" h="675466">
                  <a:moveTo>
                    <a:pt x="466133" y="98151"/>
                  </a:moveTo>
                  <a:cubicBezTo>
                    <a:pt x="487706" y="104500"/>
                    <a:pt x="510340" y="92159"/>
                    <a:pt x="516687" y="70588"/>
                  </a:cubicBezTo>
                  <a:cubicBezTo>
                    <a:pt x="517694" y="67161"/>
                    <a:pt x="518248" y="63617"/>
                    <a:pt x="518331" y="60046"/>
                  </a:cubicBezTo>
                  <a:lnTo>
                    <a:pt x="518331" y="36035"/>
                  </a:lnTo>
                  <a:cubicBezTo>
                    <a:pt x="513409" y="13721"/>
                    <a:pt x="492509" y="-1334"/>
                    <a:pt x="469787" y="1062"/>
                  </a:cubicBezTo>
                  <a:lnTo>
                    <a:pt x="168079" y="1062"/>
                  </a:lnTo>
                  <a:cubicBezTo>
                    <a:pt x="144733" y="-4181"/>
                    <a:pt x="121557" y="10495"/>
                    <a:pt x="116314" y="33841"/>
                  </a:cubicBezTo>
                  <a:cubicBezTo>
                    <a:pt x="116151" y="34568"/>
                    <a:pt x="116006" y="35300"/>
                    <a:pt x="115881" y="36035"/>
                  </a:cubicBezTo>
                  <a:lnTo>
                    <a:pt x="115881" y="62656"/>
                  </a:lnTo>
                  <a:cubicBezTo>
                    <a:pt x="117445" y="84799"/>
                    <a:pt x="136662" y="101482"/>
                    <a:pt x="158805" y="99918"/>
                  </a:cubicBezTo>
                  <a:cubicBezTo>
                    <a:pt x="161955" y="99695"/>
                    <a:pt x="165068" y="99102"/>
                    <a:pt x="168079" y="98151"/>
                  </a:cubicBezTo>
                  <a:lnTo>
                    <a:pt x="168079" y="257879"/>
                  </a:lnTo>
                  <a:lnTo>
                    <a:pt x="0" y="581510"/>
                  </a:lnTo>
                  <a:lnTo>
                    <a:pt x="63682" y="675467"/>
                  </a:lnTo>
                  <a:lnTo>
                    <a:pt x="559568" y="675467"/>
                  </a:lnTo>
                  <a:lnTo>
                    <a:pt x="624816" y="581510"/>
                  </a:lnTo>
                  <a:lnTo>
                    <a:pt x="466133" y="257879"/>
                  </a:lnTo>
                  <a:lnTo>
                    <a:pt x="466133" y="98151"/>
                  </a:lnTo>
                  <a:close/>
                </a:path>
              </a:pathLst>
            </a:custGeom>
            <a:solidFill>
              <a:schemeClr val="tx2"/>
            </a:solidFill>
            <a:ln w="51858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xmlns="" id="{0E90D06A-3D9E-4572-A87E-FB1E753B413B}"/>
                </a:ext>
              </a:extLst>
            </p:cNvPr>
            <p:cNvSpPr/>
            <p:nvPr/>
          </p:nvSpPr>
          <p:spPr>
            <a:xfrm>
              <a:off x="10875362" y="2687275"/>
              <a:ext cx="385224" cy="481792"/>
            </a:xfrm>
            <a:custGeom>
              <a:avLst/>
              <a:gdLst>
                <a:gd name="connsiteX0" fmla="*/ 385225 w 385224"/>
                <a:gd name="connsiteY0" fmla="*/ 358082 h 481792"/>
                <a:gd name="connsiteX1" fmla="*/ 176953 w 385224"/>
                <a:gd name="connsiteY1" fmla="*/ 358082 h 481792"/>
                <a:gd name="connsiteX2" fmla="*/ 101787 w 385224"/>
                <a:gd name="connsiteY2" fmla="*/ 481792 h 481792"/>
                <a:gd name="connsiteX3" fmla="*/ 0 w 385224"/>
                <a:gd name="connsiteY3" fmla="*/ 481792 h 481792"/>
                <a:gd name="connsiteX4" fmla="*/ 178519 w 385224"/>
                <a:gd name="connsiteY4" fmla="*/ 162859 h 481792"/>
                <a:gd name="connsiteX5" fmla="*/ 178519 w 385224"/>
                <a:gd name="connsiteY5" fmla="*/ 0 h 481792"/>
                <a:gd name="connsiteX6" fmla="*/ 281872 w 385224"/>
                <a:gd name="connsiteY6" fmla="*/ 0 h 481792"/>
                <a:gd name="connsiteX7" fmla="*/ 281872 w 385224"/>
                <a:gd name="connsiteY7" fmla="*/ 162859 h 481792"/>
                <a:gd name="connsiteX8" fmla="*/ 385225 w 385224"/>
                <a:gd name="connsiteY8" fmla="*/ 358082 h 481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224" h="481792">
                  <a:moveTo>
                    <a:pt x="385225" y="358082"/>
                  </a:moveTo>
                  <a:lnTo>
                    <a:pt x="176953" y="358082"/>
                  </a:lnTo>
                  <a:lnTo>
                    <a:pt x="101787" y="481792"/>
                  </a:lnTo>
                  <a:lnTo>
                    <a:pt x="0" y="481792"/>
                  </a:lnTo>
                  <a:lnTo>
                    <a:pt x="178519" y="162859"/>
                  </a:lnTo>
                  <a:lnTo>
                    <a:pt x="178519" y="0"/>
                  </a:lnTo>
                  <a:lnTo>
                    <a:pt x="281872" y="0"/>
                  </a:lnTo>
                  <a:lnTo>
                    <a:pt x="281872" y="162859"/>
                  </a:lnTo>
                  <a:lnTo>
                    <a:pt x="385225" y="358082"/>
                  </a:lnTo>
                  <a:close/>
                </a:path>
              </a:pathLst>
            </a:custGeom>
            <a:solidFill>
              <a:schemeClr val="bg1"/>
            </a:solidFill>
            <a:ln w="51858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xmlns="" id="{9BB1BBBA-1DFB-476C-8A82-CF9B9FE2A046}"/>
              </a:ext>
            </a:extLst>
          </p:cNvPr>
          <p:cNvGrpSpPr/>
          <p:nvPr/>
        </p:nvGrpSpPr>
        <p:grpSpPr>
          <a:xfrm>
            <a:off x="1796927" y="1538067"/>
            <a:ext cx="435816" cy="485430"/>
            <a:chOff x="2580307" y="4467833"/>
            <a:chExt cx="435816" cy="485430"/>
          </a:xfrm>
        </p:grpSpPr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xmlns="" id="{F06BA58A-6117-404C-8793-82AA65FE3B2B}"/>
                </a:ext>
              </a:extLst>
            </p:cNvPr>
            <p:cNvSpPr/>
            <p:nvPr/>
          </p:nvSpPr>
          <p:spPr>
            <a:xfrm>
              <a:off x="2581275" y="4522761"/>
              <a:ext cx="151416" cy="345064"/>
            </a:xfrm>
            <a:custGeom>
              <a:avLst/>
              <a:gdLst>
                <a:gd name="connsiteX0" fmla="*/ 0 w 151416"/>
                <a:gd name="connsiteY0" fmla="*/ 0 h 345064"/>
                <a:gd name="connsiteX1" fmla="*/ 0 w 151416"/>
                <a:gd name="connsiteY1" fmla="*/ 290125 h 345064"/>
                <a:gd name="connsiteX2" fmla="*/ 151417 w 151416"/>
                <a:gd name="connsiteY2" fmla="*/ 345064 h 345064"/>
                <a:gd name="connsiteX3" fmla="*/ 151417 w 151416"/>
                <a:gd name="connsiteY3" fmla="*/ 0 h 345064"/>
                <a:gd name="connsiteX4" fmla="*/ 0 w 151416"/>
                <a:gd name="connsiteY4" fmla="*/ 0 h 345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416" h="345064">
                  <a:moveTo>
                    <a:pt x="0" y="0"/>
                  </a:moveTo>
                  <a:lnTo>
                    <a:pt x="0" y="290125"/>
                  </a:lnTo>
                  <a:cubicBezTo>
                    <a:pt x="0" y="320968"/>
                    <a:pt x="67934" y="345064"/>
                    <a:pt x="151417" y="345064"/>
                  </a:cubicBezTo>
                  <a:lnTo>
                    <a:pt x="1514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xmlns="" id="{4850A1B3-1842-42AC-8538-1F8AA6303FDE}"/>
                </a:ext>
              </a:extLst>
            </p:cNvPr>
            <p:cNvSpPr/>
            <p:nvPr/>
          </p:nvSpPr>
          <p:spPr>
            <a:xfrm>
              <a:off x="2730751" y="4521794"/>
              <a:ext cx="154319" cy="345056"/>
            </a:xfrm>
            <a:custGeom>
              <a:avLst/>
              <a:gdLst>
                <a:gd name="connsiteX0" fmla="*/ 0 w 154319"/>
                <a:gd name="connsiteY0" fmla="*/ 345056 h 345056"/>
                <a:gd name="connsiteX1" fmla="*/ 2910 w 154319"/>
                <a:gd name="connsiteY1" fmla="*/ 345056 h 345056"/>
                <a:gd name="connsiteX2" fmla="*/ 154319 w 154319"/>
                <a:gd name="connsiteY2" fmla="*/ 290117 h 345056"/>
                <a:gd name="connsiteX3" fmla="*/ 154319 w 154319"/>
                <a:gd name="connsiteY3" fmla="*/ 0 h 345056"/>
                <a:gd name="connsiteX4" fmla="*/ 0 w 154319"/>
                <a:gd name="connsiteY4" fmla="*/ 0 h 345056"/>
                <a:gd name="connsiteX5" fmla="*/ 0 w 154319"/>
                <a:gd name="connsiteY5" fmla="*/ 345056 h 345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319" h="345056">
                  <a:moveTo>
                    <a:pt x="0" y="345056"/>
                  </a:moveTo>
                  <a:lnTo>
                    <a:pt x="2910" y="345056"/>
                  </a:lnTo>
                  <a:cubicBezTo>
                    <a:pt x="87350" y="345056"/>
                    <a:pt x="154319" y="320961"/>
                    <a:pt x="154319" y="290117"/>
                  </a:cubicBezTo>
                  <a:lnTo>
                    <a:pt x="154319" y="0"/>
                  </a:lnTo>
                  <a:lnTo>
                    <a:pt x="0" y="0"/>
                  </a:lnTo>
                  <a:lnTo>
                    <a:pt x="0" y="345056"/>
                  </a:lnTo>
                  <a:close/>
                </a:path>
              </a:pathLst>
            </a:custGeom>
            <a:solidFill>
              <a:srgbClr val="FFDC80"/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xmlns="" id="{717382A6-EC82-424F-AD1E-D6EA724F17DF}"/>
                </a:ext>
              </a:extLst>
            </p:cNvPr>
            <p:cNvSpPr/>
            <p:nvPr/>
          </p:nvSpPr>
          <p:spPr>
            <a:xfrm>
              <a:off x="2580307" y="4467833"/>
              <a:ext cx="303782" cy="109868"/>
            </a:xfrm>
            <a:custGeom>
              <a:avLst/>
              <a:gdLst>
                <a:gd name="connsiteX0" fmla="*/ 303782 w 303782"/>
                <a:gd name="connsiteY0" fmla="*/ 54931 h 109868"/>
                <a:gd name="connsiteX1" fmla="*/ 152373 w 303782"/>
                <a:gd name="connsiteY1" fmla="*/ 109869 h 109868"/>
                <a:gd name="connsiteX2" fmla="*/ 0 w 303782"/>
                <a:gd name="connsiteY2" fmla="*/ 54931 h 109868"/>
                <a:gd name="connsiteX3" fmla="*/ 151409 w 303782"/>
                <a:gd name="connsiteY3" fmla="*/ 0 h 109868"/>
                <a:gd name="connsiteX4" fmla="*/ 303782 w 303782"/>
                <a:gd name="connsiteY4" fmla="*/ 54931 h 109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3782" h="109868">
                  <a:moveTo>
                    <a:pt x="303782" y="54931"/>
                  </a:moveTo>
                  <a:cubicBezTo>
                    <a:pt x="303782" y="84823"/>
                    <a:pt x="235848" y="109869"/>
                    <a:pt x="152373" y="109869"/>
                  </a:cubicBezTo>
                  <a:cubicBezTo>
                    <a:pt x="68915" y="109869"/>
                    <a:pt x="0" y="84823"/>
                    <a:pt x="0" y="54931"/>
                  </a:cubicBezTo>
                  <a:cubicBezTo>
                    <a:pt x="0" y="25046"/>
                    <a:pt x="67942" y="0"/>
                    <a:pt x="151409" y="0"/>
                  </a:cubicBezTo>
                  <a:cubicBezTo>
                    <a:pt x="235848" y="0"/>
                    <a:pt x="303782" y="25046"/>
                    <a:pt x="303782" y="54931"/>
                  </a:cubicBezTo>
                  <a:close/>
                </a:path>
              </a:pathLst>
            </a:custGeom>
            <a:solidFill>
              <a:srgbClr val="FFB900"/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xmlns="" id="{85CDB84B-D268-4010-A369-1F7D09F3F862}"/>
                </a:ext>
              </a:extLst>
            </p:cNvPr>
            <p:cNvSpPr/>
            <p:nvPr/>
          </p:nvSpPr>
          <p:spPr>
            <a:xfrm>
              <a:off x="2612338" y="4483253"/>
              <a:ext cx="241660" cy="73253"/>
            </a:xfrm>
            <a:custGeom>
              <a:avLst/>
              <a:gdLst>
                <a:gd name="connsiteX0" fmla="*/ 241661 w 241660"/>
                <a:gd name="connsiteY0" fmla="*/ 36623 h 73253"/>
                <a:gd name="connsiteX1" fmla="*/ 121317 w 241660"/>
                <a:gd name="connsiteY1" fmla="*/ 73254 h 73253"/>
                <a:gd name="connsiteX2" fmla="*/ 0 w 241660"/>
                <a:gd name="connsiteY2" fmla="*/ 36623 h 73253"/>
                <a:gd name="connsiteX3" fmla="*/ 120344 w 241660"/>
                <a:gd name="connsiteY3" fmla="*/ 0 h 73253"/>
                <a:gd name="connsiteX4" fmla="*/ 241661 w 241660"/>
                <a:gd name="connsiteY4" fmla="*/ 36623 h 73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1660" h="73253">
                  <a:moveTo>
                    <a:pt x="241661" y="36623"/>
                  </a:moveTo>
                  <a:cubicBezTo>
                    <a:pt x="241661" y="56878"/>
                    <a:pt x="187298" y="73254"/>
                    <a:pt x="121317" y="73254"/>
                  </a:cubicBezTo>
                  <a:cubicBezTo>
                    <a:pt x="55320" y="73254"/>
                    <a:pt x="0" y="56878"/>
                    <a:pt x="0" y="36623"/>
                  </a:cubicBezTo>
                  <a:cubicBezTo>
                    <a:pt x="0" y="16383"/>
                    <a:pt x="54348" y="0"/>
                    <a:pt x="120344" y="0"/>
                  </a:cubicBezTo>
                  <a:cubicBezTo>
                    <a:pt x="186341" y="0"/>
                    <a:pt x="241661" y="16383"/>
                    <a:pt x="241661" y="36623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xmlns="" id="{603F8205-0C49-4F4F-B4CF-E0812CDA7C8C}"/>
                </a:ext>
              </a:extLst>
            </p:cNvPr>
            <p:cNvSpPr/>
            <p:nvPr/>
          </p:nvSpPr>
          <p:spPr>
            <a:xfrm>
              <a:off x="2612338" y="4482286"/>
              <a:ext cx="240696" cy="58794"/>
            </a:xfrm>
            <a:custGeom>
              <a:avLst/>
              <a:gdLst>
                <a:gd name="connsiteX0" fmla="*/ 215460 w 240696"/>
                <a:gd name="connsiteY0" fmla="*/ 58795 h 58794"/>
                <a:gd name="connsiteX1" fmla="*/ 240696 w 240696"/>
                <a:gd name="connsiteY1" fmla="*/ 36623 h 58794"/>
                <a:gd name="connsiteX2" fmla="*/ 120352 w 240696"/>
                <a:gd name="connsiteY2" fmla="*/ 0 h 58794"/>
                <a:gd name="connsiteX3" fmla="*/ 0 w 240696"/>
                <a:gd name="connsiteY3" fmla="*/ 36623 h 58794"/>
                <a:gd name="connsiteX4" fmla="*/ 25236 w 240696"/>
                <a:gd name="connsiteY4" fmla="*/ 58795 h 58794"/>
                <a:gd name="connsiteX5" fmla="*/ 120352 w 240696"/>
                <a:gd name="connsiteY5" fmla="*/ 45302 h 58794"/>
                <a:gd name="connsiteX6" fmla="*/ 215460 w 240696"/>
                <a:gd name="connsiteY6" fmla="*/ 58795 h 58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0696" h="58794">
                  <a:moveTo>
                    <a:pt x="215460" y="58795"/>
                  </a:moveTo>
                  <a:cubicBezTo>
                    <a:pt x="231957" y="52048"/>
                    <a:pt x="240696" y="45302"/>
                    <a:pt x="240696" y="36623"/>
                  </a:cubicBezTo>
                  <a:cubicBezTo>
                    <a:pt x="240696" y="16383"/>
                    <a:pt x="186341" y="0"/>
                    <a:pt x="120352" y="0"/>
                  </a:cubicBezTo>
                  <a:cubicBezTo>
                    <a:pt x="54348" y="0"/>
                    <a:pt x="0" y="16383"/>
                    <a:pt x="0" y="36623"/>
                  </a:cubicBezTo>
                  <a:cubicBezTo>
                    <a:pt x="0" y="44336"/>
                    <a:pt x="9704" y="53014"/>
                    <a:pt x="25236" y="58795"/>
                  </a:cubicBezTo>
                  <a:cubicBezTo>
                    <a:pt x="47562" y="50124"/>
                    <a:pt x="81522" y="45302"/>
                    <a:pt x="120352" y="45302"/>
                  </a:cubicBezTo>
                  <a:cubicBezTo>
                    <a:pt x="159167" y="45302"/>
                    <a:pt x="194107" y="51082"/>
                    <a:pt x="215460" y="5879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331" cap="flat">
              <a:noFill/>
              <a:prstDash val="solid"/>
              <a:miter/>
            </a:ln>
          </p:spPr>
          <p:txBody>
            <a:bodyPr rtlCol="1" anchor="ctr"/>
            <a:lstStyle/>
            <a:p>
              <a:pPr algn="r" rtl="1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55" name="Graphic 75">
              <a:extLst>
                <a:ext uri="{FF2B5EF4-FFF2-40B4-BE49-F238E27FC236}">
                  <a16:creationId xmlns:a16="http://schemas.microsoft.com/office/drawing/2014/main" xmlns="" id="{B6D5708D-8430-4AAD-8933-545BB29EBCC3}"/>
                </a:ext>
              </a:extLst>
            </p:cNvPr>
            <p:cNvGrpSpPr/>
            <p:nvPr/>
          </p:nvGrpSpPr>
          <p:grpSpPr>
            <a:xfrm>
              <a:off x="2775139" y="4695615"/>
              <a:ext cx="240984" cy="257648"/>
              <a:chOff x="9950786" y="-2124188"/>
              <a:chExt cx="445770" cy="476592"/>
            </a:xfrm>
            <a:solidFill>
              <a:schemeClr val="tx1">
                <a:lumMod val="65000"/>
                <a:lumOff val="35000"/>
              </a:schemeClr>
            </a:solidFill>
          </p:grpSpPr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xmlns="" id="{DC142EE2-6249-4703-A1CC-39D84314012B}"/>
                  </a:ext>
                </a:extLst>
              </p:cNvPr>
              <p:cNvSpPr/>
              <p:nvPr/>
            </p:nvSpPr>
            <p:spPr>
              <a:xfrm>
                <a:off x="9950786" y="-2108605"/>
                <a:ext cx="445770" cy="461009"/>
              </a:xfrm>
              <a:custGeom>
                <a:avLst/>
                <a:gdLst>
                  <a:gd name="connsiteX0" fmla="*/ 377190 w 445770"/>
                  <a:gd name="connsiteY0" fmla="*/ 91440 h 461009"/>
                  <a:gd name="connsiteX1" fmla="*/ 381953 w 445770"/>
                  <a:gd name="connsiteY1" fmla="*/ 96203 h 461009"/>
                  <a:gd name="connsiteX2" fmla="*/ 405765 w 445770"/>
                  <a:gd name="connsiteY2" fmla="*/ 76200 h 461009"/>
                  <a:gd name="connsiteX3" fmla="*/ 445770 w 445770"/>
                  <a:gd name="connsiteY3" fmla="*/ 10478 h 461009"/>
                  <a:gd name="connsiteX4" fmla="*/ 435293 w 445770"/>
                  <a:gd name="connsiteY4" fmla="*/ 0 h 461009"/>
                  <a:gd name="connsiteX5" fmla="*/ 372428 w 445770"/>
                  <a:gd name="connsiteY5" fmla="*/ 41910 h 461009"/>
                  <a:gd name="connsiteX6" fmla="*/ 353378 w 445770"/>
                  <a:gd name="connsiteY6" fmla="*/ 66675 h 461009"/>
                  <a:gd name="connsiteX7" fmla="*/ 358140 w 445770"/>
                  <a:gd name="connsiteY7" fmla="*/ 71438 h 461009"/>
                  <a:gd name="connsiteX8" fmla="*/ 233363 w 445770"/>
                  <a:gd name="connsiteY8" fmla="*/ 200025 h 461009"/>
                  <a:gd name="connsiteX9" fmla="*/ 207645 w 445770"/>
                  <a:gd name="connsiteY9" fmla="*/ 173355 h 461009"/>
                  <a:gd name="connsiteX10" fmla="*/ 179070 w 445770"/>
                  <a:gd name="connsiteY10" fmla="*/ 202883 h 461009"/>
                  <a:gd name="connsiteX11" fmla="*/ 165735 w 445770"/>
                  <a:gd name="connsiteY11" fmla="*/ 243840 h 461009"/>
                  <a:gd name="connsiteX12" fmla="*/ 126683 w 445770"/>
                  <a:gd name="connsiteY12" fmla="*/ 258128 h 461009"/>
                  <a:gd name="connsiteX13" fmla="*/ 0 w 445770"/>
                  <a:gd name="connsiteY13" fmla="*/ 387668 h 461009"/>
                  <a:gd name="connsiteX14" fmla="*/ 70485 w 445770"/>
                  <a:gd name="connsiteY14" fmla="*/ 461010 h 461009"/>
                  <a:gd name="connsiteX15" fmla="*/ 196215 w 445770"/>
                  <a:gd name="connsiteY15" fmla="*/ 330518 h 461009"/>
                  <a:gd name="connsiteX16" fmla="*/ 210503 w 445770"/>
                  <a:gd name="connsiteY16" fmla="*/ 289560 h 461009"/>
                  <a:gd name="connsiteX17" fmla="*/ 249555 w 445770"/>
                  <a:gd name="connsiteY17" fmla="*/ 275273 h 461009"/>
                  <a:gd name="connsiteX18" fmla="*/ 278130 w 445770"/>
                  <a:gd name="connsiteY18" fmla="*/ 245745 h 461009"/>
                  <a:gd name="connsiteX19" fmla="*/ 252413 w 445770"/>
                  <a:gd name="connsiteY19" fmla="*/ 219075 h 461009"/>
                  <a:gd name="connsiteX20" fmla="*/ 377190 w 445770"/>
                  <a:gd name="connsiteY20" fmla="*/ 91440 h 461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45770" h="461009">
                    <a:moveTo>
                      <a:pt x="377190" y="91440"/>
                    </a:moveTo>
                    <a:lnTo>
                      <a:pt x="381953" y="96203"/>
                    </a:lnTo>
                    <a:lnTo>
                      <a:pt x="405765" y="76200"/>
                    </a:lnTo>
                    <a:lnTo>
                      <a:pt x="445770" y="10478"/>
                    </a:lnTo>
                    <a:lnTo>
                      <a:pt x="435293" y="0"/>
                    </a:lnTo>
                    <a:lnTo>
                      <a:pt x="372428" y="41910"/>
                    </a:lnTo>
                    <a:lnTo>
                      <a:pt x="353378" y="66675"/>
                    </a:lnTo>
                    <a:lnTo>
                      <a:pt x="358140" y="71438"/>
                    </a:lnTo>
                    <a:lnTo>
                      <a:pt x="233363" y="200025"/>
                    </a:lnTo>
                    <a:lnTo>
                      <a:pt x="207645" y="173355"/>
                    </a:lnTo>
                    <a:lnTo>
                      <a:pt x="179070" y="202883"/>
                    </a:lnTo>
                    <a:cubicBezTo>
                      <a:pt x="180975" y="217170"/>
                      <a:pt x="176213" y="232410"/>
                      <a:pt x="165735" y="243840"/>
                    </a:cubicBezTo>
                    <a:cubicBezTo>
                      <a:pt x="155258" y="255270"/>
                      <a:pt x="140018" y="260033"/>
                      <a:pt x="126683" y="258128"/>
                    </a:cubicBezTo>
                    <a:lnTo>
                      <a:pt x="0" y="387668"/>
                    </a:lnTo>
                    <a:lnTo>
                      <a:pt x="70485" y="461010"/>
                    </a:lnTo>
                    <a:lnTo>
                      <a:pt x="196215" y="330518"/>
                    </a:lnTo>
                    <a:cubicBezTo>
                      <a:pt x="194310" y="316230"/>
                      <a:pt x="199073" y="300990"/>
                      <a:pt x="210503" y="289560"/>
                    </a:cubicBezTo>
                    <a:cubicBezTo>
                      <a:pt x="220980" y="278130"/>
                      <a:pt x="236220" y="273368"/>
                      <a:pt x="249555" y="275273"/>
                    </a:cubicBezTo>
                    <a:lnTo>
                      <a:pt x="278130" y="245745"/>
                    </a:lnTo>
                    <a:lnTo>
                      <a:pt x="252413" y="219075"/>
                    </a:lnTo>
                    <a:lnTo>
                      <a:pt x="377190" y="9144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1" anchor="ctr"/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xmlns="" id="{33DFD394-436B-4736-88C1-0BA24288A8DE}"/>
                  </a:ext>
                </a:extLst>
              </p:cNvPr>
              <p:cNvSpPr/>
              <p:nvPr/>
            </p:nvSpPr>
            <p:spPr>
              <a:xfrm>
                <a:off x="10191768" y="-1899055"/>
                <a:ext cx="203834" cy="227647"/>
              </a:xfrm>
              <a:custGeom>
                <a:avLst/>
                <a:gdLst>
                  <a:gd name="connsiteX0" fmla="*/ 124778 w 203834"/>
                  <a:gd name="connsiteY0" fmla="*/ 213360 h 227647"/>
                  <a:gd name="connsiteX1" fmla="*/ 190500 w 203834"/>
                  <a:gd name="connsiteY1" fmla="*/ 213360 h 227647"/>
                  <a:gd name="connsiteX2" fmla="*/ 203835 w 203834"/>
                  <a:gd name="connsiteY2" fmla="*/ 179070 h 227647"/>
                  <a:gd name="connsiteX3" fmla="*/ 190500 w 203834"/>
                  <a:gd name="connsiteY3" fmla="*/ 144780 h 227647"/>
                  <a:gd name="connsiteX4" fmla="*/ 49530 w 203834"/>
                  <a:gd name="connsiteY4" fmla="*/ 0 h 227647"/>
                  <a:gd name="connsiteX5" fmla="*/ 36195 w 203834"/>
                  <a:gd name="connsiteY5" fmla="*/ 14288 h 227647"/>
                  <a:gd name="connsiteX6" fmla="*/ 61913 w 203834"/>
                  <a:gd name="connsiteY6" fmla="*/ 40957 h 227647"/>
                  <a:gd name="connsiteX7" fmla="*/ 50483 w 203834"/>
                  <a:gd name="connsiteY7" fmla="*/ 51435 h 227647"/>
                  <a:gd name="connsiteX8" fmla="*/ 21908 w 203834"/>
                  <a:gd name="connsiteY8" fmla="*/ 80962 h 227647"/>
                  <a:gd name="connsiteX9" fmla="*/ 18097 w 203834"/>
                  <a:gd name="connsiteY9" fmla="*/ 84773 h 227647"/>
                  <a:gd name="connsiteX10" fmla="*/ 12383 w 203834"/>
                  <a:gd name="connsiteY10" fmla="*/ 83820 h 227647"/>
                  <a:gd name="connsiteX11" fmla="*/ 0 w 203834"/>
                  <a:gd name="connsiteY11" fmla="*/ 84773 h 227647"/>
                  <a:gd name="connsiteX12" fmla="*/ 124778 w 203834"/>
                  <a:gd name="connsiteY12" fmla="*/ 213360 h 227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3834" h="227647">
                    <a:moveTo>
                      <a:pt x="124778" y="213360"/>
                    </a:moveTo>
                    <a:cubicBezTo>
                      <a:pt x="142875" y="232410"/>
                      <a:pt x="172403" y="232410"/>
                      <a:pt x="190500" y="213360"/>
                    </a:cubicBezTo>
                    <a:cubicBezTo>
                      <a:pt x="200025" y="203835"/>
                      <a:pt x="203835" y="191453"/>
                      <a:pt x="203835" y="179070"/>
                    </a:cubicBezTo>
                    <a:cubicBezTo>
                      <a:pt x="203835" y="166687"/>
                      <a:pt x="199073" y="154305"/>
                      <a:pt x="190500" y="144780"/>
                    </a:cubicBezTo>
                    <a:lnTo>
                      <a:pt x="49530" y="0"/>
                    </a:lnTo>
                    <a:lnTo>
                      <a:pt x="36195" y="14288"/>
                    </a:lnTo>
                    <a:lnTo>
                      <a:pt x="61913" y="40957"/>
                    </a:lnTo>
                    <a:lnTo>
                      <a:pt x="50483" y="51435"/>
                    </a:lnTo>
                    <a:lnTo>
                      <a:pt x="21908" y="80962"/>
                    </a:lnTo>
                    <a:lnTo>
                      <a:pt x="18097" y="84773"/>
                    </a:lnTo>
                    <a:lnTo>
                      <a:pt x="12383" y="83820"/>
                    </a:lnTo>
                    <a:cubicBezTo>
                      <a:pt x="8572" y="83820"/>
                      <a:pt x="3810" y="83820"/>
                      <a:pt x="0" y="84773"/>
                    </a:cubicBezTo>
                    <a:lnTo>
                      <a:pt x="124778" y="2133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1" anchor="ctr"/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xmlns="" id="{0E162505-3E04-478D-8DDE-16BBD30801A4}"/>
                  </a:ext>
                </a:extLst>
              </p:cNvPr>
              <p:cNvSpPr/>
              <p:nvPr/>
            </p:nvSpPr>
            <p:spPr>
              <a:xfrm>
                <a:off x="9961858" y="-2124188"/>
                <a:ext cx="232767" cy="227037"/>
              </a:xfrm>
              <a:custGeom>
                <a:avLst/>
                <a:gdLst>
                  <a:gd name="connsiteX0" fmla="*/ 167045 w 232767"/>
                  <a:gd name="connsiteY0" fmla="*/ 29870 h 227037"/>
                  <a:gd name="connsiteX1" fmla="*/ 71795 w 232767"/>
                  <a:gd name="connsiteY1" fmla="*/ 3200 h 227037"/>
                  <a:gd name="connsiteX2" fmla="*/ 127992 w 232767"/>
                  <a:gd name="connsiteY2" fmla="*/ 60350 h 227037"/>
                  <a:gd name="connsiteX3" fmla="*/ 113705 w 232767"/>
                  <a:gd name="connsiteY3" fmla="*/ 116547 h 227037"/>
                  <a:gd name="connsiteX4" fmla="*/ 58460 w 232767"/>
                  <a:gd name="connsiteY4" fmla="*/ 131787 h 227037"/>
                  <a:gd name="connsiteX5" fmla="*/ 3215 w 232767"/>
                  <a:gd name="connsiteY5" fmla="*/ 74637 h 227037"/>
                  <a:gd name="connsiteX6" fmla="*/ 28932 w 232767"/>
                  <a:gd name="connsiteY6" fmla="*/ 172745 h 227037"/>
                  <a:gd name="connsiteX7" fmla="*/ 125135 w 232767"/>
                  <a:gd name="connsiteY7" fmla="*/ 198462 h 227037"/>
                  <a:gd name="connsiteX8" fmla="*/ 127040 w 232767"/>
                  <a:gd name="connsiteY8" fmla="*/ 200367 h 227037"/>
                  <a:gd name="connsiteX9" fmla="*/ 152757 w 232767"/>
                  <a:gd name="connsiteY9" fmla="*/ 227037 h 227037"/>
                  <a:gd name="connsiteX10" fmla="*/ 153710 w 232767"/>
                  <a:gd name="connsiteY10" fmla="*/ 218465 h 227037"/>
                  <a:gd name="connsiteX11" fmla="*/ 153710 w 232767"/>
                  <a:gd name="connsiteY11" fmla="*/ 213702 h 227037"/>
                  <a:gd name="connsiteX12" fmla="*/ 151805 w 232767"/>
                  <a:gd name="connsiteY12" fmla="*/ 209892 h 227037"/>
                  <a:gd name="connsiteX13" fmla="*/ 194667 w 232767"/>
                  <a:gd name="connsiteY13" fmla="*/ 165125 h 227037"/>
                  <a:gd name="connsiteX14" fmla="*/ 202287 w 232767"/>
                  <a:gd name="connsiteY14" fmla="*/ 173697 h 227037"/>
                  <a:gd name="connsiteX15" fmla="*/ 219432 w 232767"/>
                  <a:gd name="connsiteY15" fmla="*/ 191795 h 227037"/>
                  <a:gd name="connsiteX16" fmla="*/ 232767 w 232767"/>
                  <a:gd name="connsiteY16" fmla="*/ 177507 h 227037"/>
                  <a:gd name="connsiteX17" fmla="*/ 191810 w 232767"/>
                  <a:gd name="connsiteY17" fmla="*/ 133692 h 227037"/>
                  <a:gd name="connsiteX18" fmla="*/ 191810 w 232767"/>
                  <a:gd name="connsiteY18" fmla="*/ 133692 h 227037"/>
                  <a:gd name="connsiteX19" fmla="*/ 167045 w 232767"/>
                  <a:gd name="connsiteY19" fmla="*/ 29870 h 227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2767" h="227037">
                    <a:moveTo>
                      <a:pt x="167045" y="29870"/>
                    </a:moveTo>
                    <a:cubicBezTo>
                      <a:pt x="141327" y="3200"/>
                      <a:pt x="104180" y="-5373"/>
                      <a:pt x="71795" y="3200"/>
                    </a:cubicBezTo>
                    <a:lnTo>
                      <a:pt x="127992" y="60350"/>
                    </a:lnTo>
                    <a:lnTo>
                      <a:pt x="113705" y="116547"/>
                    </a:lnTo>
                    <a:lnTo>
                      <a:pt x="58460" y="131787"/>
                    </a:lnTo>
                    <a:lnTo>
                      <a:pt x="3215" y="74637"/>
                    </a:lnTo>
                    <a:cubicBezTo>
                      <a:pt x="-5358" y="108927"/>
                      <a:pt x="3215" y="146075"/>
                      <a:pt x="28932" y="172745"/>
                    </a:cubicBezTo>
                    <a:cubicBezTo>
                      <a:pt x="54650" y="199415"/>
                      <a:pt x="91797" y="207987"/>
                      <a:pt x="125135" y="198462"/>
                    </a:cubicBezTo>
                    <a:lnTo>
                      <a:pt x="127040" y="200367"/>
                    </a:lnTo>
                    <a:lnTo>
                      <a:pt x="152757" y="227037"/>
                    </a:lnTo>
                    <a:cubicBezTo>
                      <a:pt x="153710" y="224180"/>
                      <a:pt x="153710" y="221322"/>
                      <a:pt x="153710" y="218465"/>
                    </a:cubicBezTo>
                    <a:cubicBezTo>
                      <a:pt x="153710" y="216560"/>
                      <a:pt x="153710" y="215607"/>
                      <a:pt x="153710" y="213702"/>
                    </a:cubicBezTo>
                    <a:lnTo>
                      <a:pt x="151805" y="209892"/>
                    </a:lnTo>
                    <a:lnTo>
                      <a:pt x="194667" y="165125"/>
                    </a:lnTo>
                    <a:lnTo>
                      <a:pt x="202287" y="173697"/>
                    </a:lnTo>
                    <a:lnTo>
                      <a:pt x="219432" y="191795"/>
                    </a:lnTo>
                    <a:lnTo>
                      <a:pt x="232767" y="177507"/>
                    </a:lnTo>
                    <a:lnTo>
                      <a:pt x="191810" y="133692"/>
                    </a:lnTo>
                    <a:lnTo>
                      <a:pt x="191810" y="133692"/>
                    </a:lnTo>
                    <a:cubicBezTo>
                      <a:pt x="202287" y="98450"/>
                      <a:pt x="194667" y="58445"/>
                      <a:pt x="167045" y="298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1" anchor="ctr"/>
              <a:lstStyle/>
              <a:p>
                <a:pPr algn="r" rtl="1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159" name="Picture 9" descr="See the source image">
            <a:extLst>
              <a:ext uri="{FF2B5EF4-FFF2-40B4-BE49-F238E27FC236}">
                <a16:creationId xmlns:a16="http://schemas.microsoft.com/office/drawing/2014/main" xmlns="" id="{66F24C8E-8E97-4253-8C96-D47893A891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40" y="1530596"/>
            <a:ext cx="494464" cy="485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1" name="Rectangle 200">
            <a:extLst>
              <a:ext uri="{FF2B5EF4-FFF2-40B4-BE49-F238E27FC236}">
                <a16:creationId xmlns:a16="http://schemas.microsoft.com/office/drawing/2014/main" xmlns="" id="{9C19351F-8290-447F-BFED-EEF676B70309}"/>
              </a:ext>
            </a:extLst>
          </p:cNvPr>
          <p:cNvSpPr/>
          <p:nvPr/>
        </p:nvSpPr>
        <p:spPr bwMode="auto">
          <a:xfrm flipH="1">
            <a:off x="4601935" y="2629074"/>
            <a:ext cx="2991284" cy="39527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" tIns="146304" rIns="18288" bIns="146304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1" fontAlgn="base">
              <a:spcBef>
                <a:spcPct val="0"/>
              </a:spcBef>
              <a:spcAft>
                <a:spcPct val="0"/>
              </a:spcAft>
            </a:pPr>
            <a:r>
              <a:rPr lang="ar-SA" sz="1200" dirty="0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 val="0"/>
              </a:rPr>
              <a:t>‛Azure Synapse</a:t>
            </a:r>
            <a:r>
              <a:rPr lang="ar-SA" sz="1200" dirty="0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/>
              </a:rPr>
              <a:t> ‏</a:t>
            </a:r>
            <a:r>
              <a:rPr lang="ar-SA" sz="1200" dirty="0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 val="0"/>
              </a:rPr>
              <a:t>SQL</a:t>
            </a:r>
            <a:r>
              <a:rPr lang="ar-SA" sz="1200" dirty="0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/>
              </a:rPr>
              <a:t> حسب الطلب للتحليلات</a:t>
            </a:r>
            <a:endParaRPr lang="en-IN" sz="1200" dirty="0">
              <a:solidFill>
                <a:srgbClr val="FFFFFF"/>
              </a:solidFill>
              <a:latin typeface="Arial" panose="020B0604020202020204" pitchFamily="34" charset="0"/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xmlns="" id="{DDA6BDFC-8510-491D-80C7-69CA6B8FA272}"/>
              </a:ext>
            </a:extLst>
          </p:cNvPr>
          <p:cNvSpPr/>
          <p:nvPr/>
        </p:nvSpPr>
        <p:spPr bwMode="auto">
          <a:xfrm flipH="1">
            <a:off x="8382672" y="2629074"/>
            <a:ext cx="3010314" cy="23190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94" tIns="149196" rIns="186494" bIns="149196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950846" rtl="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4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 panose="020B0604020202020204" pitchFamily="34" charset="0"/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xmlns="" id="{6E1F8097-30DA-4BB8-875D-1492DFCD6989}"/>
              </a:ext>
            </a:extLst>
          </p:cNvPr>
          <p:cNvSpPr/>
          <p:nvPr/>
        </p:nvSpPr>
        <p:spPr bwMode="auto">
          <a:xfrm flipH="1">
            <a:off x="9339858" y="3177472"/>
            <a:ext cx="1095942" cy="554380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152188" rIns="0" bIns="152188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9953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ar-SA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 val="0"/>
              </a:rPr>
              <a:t>AOS</a:t>
            </a:r>
          </a:p>
        </p:txBody>
      </p:sp>
      <p:cxnSp>
        <p:nvCxnSpPr>
          <p:cNvPr id="209" name="Straight Arrow Connector 208">
            <a:extLst>
              <a:ext uri="{FF2B5EF4-FFF2-40B4-BE49-F238E27FC236}">
                <a16:creationId xmlns:a16="http://schemas.microsoft.com/office/drawing/2014/main" xmlns="" id="{7ED22058-6DBB-4ED9-9863-B8489404A56E}"/>
              </a:ext>
            </a:extLst>
          </p:cNvPr>
          <p:cNvCxnSpPr>
            <a:cxnSpLocks/>
          </p:cNvCxnSpPr>
          <p:nvPr/>
        </p:nvCxnSpPr>
        <p:spPr>
          <a:xfrm flipH="1">
            <a:off x="9887829" y="3731852"/>
            <a:ext cx="0" cy="337320"/>
          </a:xfrm>
          <a:prstGeom prst="straightConnector1">
            <a:avLst/>
          </a:prstGeom>
          <a:ln w="22225">
            <a:solidFill>
              <a:schemeClr val="bg1">
                <a:lumMod val="75000"/>
              </a:schemeClr>
            </a:solidFill>
            <a:headEnd type="arrow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Cylinder 49">
            <a:extLst>
              <a:ext uri="{FF2B5EF4-FFF2-40B4-BE49-F238E27FC236}">
                <a16:creationId xmlns:a16="http://schemas.microsoft.com/office/drawing/2014/main" xmlns="" id="{C70CFA0E-0824-4AEC-BBAA-7405951255C6}"/>
              </a:ext>
            </a:extLst>
          </p:cNvPr>
          <p:cNvSpPr/>
          <p:nvPr/>
        </p:nvSpPr>
        <p:spPr bwMode="auto">
          <a:xfrm flipH="1">
            <a:off x="9423579" y="4069724"/>
            <a:ext cx="928500" cy="610776"/>
          </a:xfrm>
          <a:prstGeom prst="can">
            <a:avLst/>
          </a:prstGeom>
          <a:solidFill>
            <a:srgbClr val="4472C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149196" rIns="0" bIns="149196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0845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ar-SA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 val="0"/>
              </a:rPr>
              <a:t> AXDB</a:t>
            </a:r>
          </a:p>
          <a:p>
            <a:pPr algn="ctr" defTabSz="950845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ar-SA" sz="7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/>
              </a:rPr>
              <a:t>(قاعدة بيانات </a:t>
            </a:r>
            <a:r>
              <a:rPr lang="ar-SA" sz="7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 val="0"/>
              </a:rPr>
              <a:t>Azure SQL</a:t>
            </a:r>
            <a:r>
              <a:rPr lang="ar-SA" sz="7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/>
              </a:rPr>
              <a:t>)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xmlns="" id="{913517CC-2F49-4985-979F-5417D8804035}"/>
              </a:ext>
            </a:extLst>
          </p:cNvPr>
          <p:cNvCxnSpPr>
            <a:cxnSpLocks/>
          </p:cNvCxnSpPr>
          <p:nvPr/>
        </p:nvCxnSpPr>
        <p:spPr>
          <a:xfrm flipH="1" flipV="1">
            <a:off x="7245749" y="4236685"/>
            <a:ext cx="2180193" cy="18093"/>
          </a:xfrm>
          <a:prstGeom prst="straightConnector1">
            <a:avLst/>
          </a:prstGeom>
          <a:ln w="22225">
            <a:solidFill>
              <a:schemeClr val="bg1">
                <a:lumMod val="75000"/>
              </a:schemeClr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ectangle 209">
            <a:extLst>
              <a:ext uri="{FF2B5EF4-FFF2-40B4-BE49-F238E27FC236}">
                <a16:creationId xmlns:a16="http://schemas.microsoft.com/office/drawing/2014/main" xmlns="" id="{29E69DB4-CB54-4766-BBFA-08291E2E6CC3}"/>
              </a:ext>
            </a:extLst>
          </p:cNvPr>
          <p:cNvSpPr/>
          <p:nvPr/>
        </p:nvSpPr>
        <p:spPr bwMode="auto">
          <a:xfrm flipH="1">
            <a:off x="8392187" y="2629074"/>
            <a:ext cx="2991284" cy="39527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32472" rtl="1" fontAlgn="base">
              <a:spcBef>
                <a:spcPct val="0"/>
              </a:spcBef>
              <a:spcAft>
                <a:spcPct val="0"/>
              </a:spcAft>
            </a:pPr>
            <a:r>
              <a:rPr lang="ar-SA" sz="1200" dirty="0">
                <a:solidFill>
                  <a:schemeClr val="bg1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 val="0"/>
              </a:rPr>
              <a:t>Powered BI Embedded</a:t>
            </a:r>
            <a:endParaRPr lang="en-IN" sz="1200" dirty="0">
              <a:solidFill>
                <a:schemeClr val="bg1"/>
              </a:solidFill>
              <a:latin typeface="Arial" panose="020B0604020202020204" pitchFamily="34" charset="0"/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11" name="Browser" title="Icon of a browser window">
            <a:extLst>
              <a:ext uri="{FF2B5EF4-FFF2-40B4-BE49-F238E27FC236}">
                <a16:creationId xmlns:a16="http://schemas.microsoft.com/office/drawing/2014/main" xmlns="" id="{521D739B-ACA7-438A-82B5-B82523AB739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892037" y="2686670"/>
            <a:ext cx="349960" cy="280078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2700" cap="sq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algn="r" rtl="1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1" name="Freeform 13" title="Icon of a cloud">
            <a:extLst>
              <a:ext uri="{FF2B5EF4-FFF2-40B4-BE49-F238E27FC236}">
                <a16:creationId xmlns:a16="http://schemas.microsoft.com/office/drawing/2014/main" xmlns="" id="{62104A94-B57D-48B2-BA8E-5A206328F451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4506646" y="3247404"/>
            <a:ext cx="3181862" cy="1771960"/>
          </a:xfrm>
          <a:custGeom>
            <a:avLst/>
            <a:gdLst>
              <a:gd name="T0" fmla="*/ 384 w 771"/>
              <a:gd name="T1" fmla="*/ 0 h 422"/>
              <a:gd name="T2" fmla="*/ 549 w 771"/>
              <a:gd name="T3" fmla="*/ 110 h 422"/>
              <a:gd name="T4" fmla="*/ 551 w 771"/>
              <a:gd name="T5" fmla="*/ 115 h 422"/>
              <a:gd name="T6" fmla="*/ 565 w 771"/>
              <a:gd name="T7" fmla="*/ 110 h 422"/>
              <a:gd name="T8" fmla="*/ 612 w 771"/>
              <a:gd name="T9" fmla="*/ 103 h 422"/>
              <a:gd name="T10" fmla="*/ 771 w 771"/>
              <a:gd name="T11" fmla="*/ 262 h 422"/>
              <a:gd name="T12" fmla="*/ 628 w 771"/>
              <a:gd name="T13" fmla="*/ 420 h 422"/>
              <a:gd name="T14" fmla="*/ 616 w 771"/>
              <a:gd name="T15" fmla="*/ 421 h 422"/>
              <a:gd name="T16" fmla="*/ 610 w 771"/>
              <a:gd name="T17" fmla="*/ 421 h 422"/>
              <a:gd name="T18" fmla="*/ 98 w 771"/>
              <a:gd name="T19" fmla="*/ 421 h 422"/>
              <a:gd name="T20" fmla="*/ 91 w 771"/>
              <a:gd name="T21" fmla="*/ 422 h 422"/>
              <a:gd name="T22" fmla="*/ 74 w 771"/>
              <a:gd name="T23" fmla="*/ 419 h 422"/>
              <a:gd name="T24" fmla="*/ 12 w 771"/>
              <a:gd name="T25" fmla="*/ 312 h 422"/>
              <a:gd name="T26" fmla="*/ 101 w 771"/>
              <a:gd name="T27" fmla="*/ 247 h 422"/>
              <a:gd name="T28" fmla="*/ 108 w 771"/>
              <a:gd name="T29" fmla="*/ 249 h 422"/>
              <a:gd name="T30" fmla="*/ 106 w 771"/>
              <a:gd name="T31" fmla="*/ 238 h 422"/>
              <a:gd name="T32" fmla="*/ 119 w 771"/>
              <a:gd name="T33" fmla="*/ 179 h 422"/>
              <a:gd name="T34" fmla="*/ 201 w 771"/>
              <a:gd name="T35" fmla="*/ 128 h 422"/>
              <a:gd name="T36" fmla="*/ 213 w 771"/>
              <a:gd name="T37" fmla="*/ 128 h 422"/>
              <a:gd name="T38" fmla="*/ 213 w 771"/>
              <a:gd name="T39" fmla="*/ 127 h 422"/>
              <a:gd name="T40" fmla="*/ 384 w 771"/>
              <a:gd name="T41" fmla="*/ 0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771" h="422">
                <a:moveTo>
                  <a:pt x="384" y="0"/>
                </a:moveTo>
                <a:cubicBezTo>
                  <a:pt x="458" y="0"/>
                  <a:pt x="522" y="46"/>
                  <a:pt x="549" y="110"/>
                </a:cubicBezTo>
                <a:cubicBezTo>
                  <a:pt x="551" y="115"/>
                  <a:pt x="551" y="115"/>
                  <a:pt x="551" y="115"/>
                </a:cubicBezTo>
                <a:cubicBezTo>
                  <a:pt x="565" y="110"/>
                  <a:pt x="565" y="110"/>
                  <a:pt x="565" y="110"/>
                </a:cubicBezTo>
                <a:cubicBezTo>
                  <a:pt x="580" y="105"/>
                  <a:pt x="596" y="103"/>
                  <a:pt x="612" y="103"/>
                </a:cubicBezTo>
                <a:cubicBezTo>
                  <a:pt x="700" y="103"/>
                  <a:pt x="771" y="174"/>
                  <a:pt x="771" y="262"/>
                </a:cubicBezTo>
                <a:cubicBezTo>
                  <a:pt x="771" y="344"/>
                  <a:pt x="708" y="412"/>
                  <a:pt x="628" y="420"/>
                </a:cubicBezTo>
                <a:cubicBezTo>
                  <a:pt x="616" y="421"/>
                  <a:pt x="616" y="421"/>
                  <a:pt x="616" y="421"/>
                </a:cubicBezTo>
                <a:cubicBezTo>
                  <a:pt x="610" y="421"/>
                  <a:pt x="610" y="421"/>
                  <a:pt x="610" y="421"/>
                </a:cubicBezTo>
                <a:cubicBezTo>
                  <a:pt x="98" y="421"/>
                  <a:pt x="98" y="421"/>
                  <a:pt x="98" y="421"/>
                </a:cubicBezTo>
                <a:cubicBezTo>
                  <a:pt x="91" y="422"/>
                  <a:pt x="91" y="422"/>
                  <a:pt x="91" y="422"/>
                </a:cubicBezTo>
                <a:cubicBezTo>
                  <a:pt x="85" y="421"/>
                  <a:pt x="79" y="420"/>
                  <a:pt x="74" y="419"/>
                </a:cubicBezTo>
                <a:cubicBezTo>
                  <a:pt x="27" y="406"/>
                  <a:pt x="0" y="359"/>
                  <a:pt x="12" y="312"/>
                </a:cubicBezTo>
                <a:cubicBezTo>
                  <a:pt x="23" y="271"/>
                  <a:pt x="61" y="245"/>
                  <a:pt x="101" y="247"/>
                </a:cubicBezTo>
                <a:cubicBezTo>
                  <a:pt x="108" y="249"/>
                  <a:pt x="108" y="249"/>
                  <a:pt x="108" y="249"/>
                </a:cubicBezTo>
                <a:cubicBezTo>
                  <a:pt x="106" y="238"/>
                  <a:pt x="106" y="238"/>
                  <a:pt x="106" y="238"/>
                </a:cubicBezTo>
                <a:cubicBezTo>
                  <a:pt x="105" y="218"/>
                  <a:pt x="109" y="198"/>
                  <a:pt x="119" y="179"/>
                </a:cubicBezTo>
                <a:cubicBezTo>
                  <a:pt x="137" y="148"/>
                  <a:pt x="168" y="130"/>
                  <a:pt x="201" y="128"/>
                </a:cubicBezTo>
                <a:cubicBezTo>
                  <a:pt x="213" y="128"/>
                  <a:pt x="213" y="128"/>
                  <a:pt x="213" y="128"/>
                </a:cubicBezTo>
                <a:cubicBezTo>
                  <a:pt x="213" y="127"/>
                  <a:pt x="213" y="127"/>
                  <a:pt x="213" y="127"/>
                </a:cubicBezTo>
                <a:cubicBezTo>
                  <a:pt x="236" y="53"/>
                  <a:pt x="304" y="0"/>
                  <a:pt x="384" y="0"/>
                </a:cubicBezTo>
                <a:close/>
              </a:path>
            </a:pathLst>
          </a:custGeom>
          <a:solidFill>
            <a:schemeClr val="bg1"/>
          </a:solidFill>
          <a:ln w="15875" cap="sq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algn="r" rtl="1"/>
            <a:endParaRPr lang="en-US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2" name="Group 181">
            <a:extLst>
              <a:ext uri="{FF2B5EF4-FFF2-40B4-BE49-F238E27FC236}">
                <a16:creationId xmlns:a16="http://schemas.microsoft.com/office/drawing/2014/main" xmlns="" id="{B0045F93-8D58-420E-95D8-AD1055D96FDE}"/>
              </a:ext>
            </a:extLst>
          </p:cNvPr>
          <p:cNvGrpSpPr/>
          <p:nvPr/>
        </p:nvGrpSpPr>
        <p:grpSpPr>
          <a:xfrm flipH="1">
            <a:off x="7362815" y="4382747"/>
            <a:ext cx="127834" cy="123478"/>
            <a:chOff x="4892872" y="3435399"/>
            <a:chExt cx="994362" cy="994372"/>
          </a:xfrm>
        </p:grpSpPr>
        <p:sp>
          <p:nvSpPr>
            <p:cNvPr id="183" name="Oval 182">
              <a:extLst>
                <a:ext uri="{FF2B5EF4-FFF2-40B4-BE49-F238E27FC236}">
                  <a16:creationId xmlns:a16="http://schemas.microsoft.com/office/drawing/2014/main" xmlns="" id="{78F54ECF-4186-47D9-A05E-1A3737E1AF9B}"/>
                </a:ext>
              </a:extLst>
            </p:cNvPr>
            <p:cNvSpPr/>
            <p:nvPr/>
          </p:nvSpPr>
          <p:spPr bwMode="auto">
            <a:xfrm>
              <a:off x="4954517" y="3497053"/>
              <a:ext cx="871064" cy="871064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IN" sz="1600" err="1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xmlns="" id="{11FD6DAF-5EED-4297-81D6-2CDC072E5A5E}"/>
                </a:ext>
              </a:extLst>
            </p:cNvPr>
            <p:cNvSpPr/>
            <p:nvPr/>
          </p:nvSpPr>
          <p:spPr bwMode="auto">
            <a:xfrm>
              <a:off x="4892872" y="3435399"/>
              <a:ext cx="994362" cy="99437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" sz="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1</a:t>
              </a:r>
              <a:endParaRPr lang="en-IN" sz="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5" name="TextBox 184">
            <a:extLst>
              <a:ext uri="{FF2B5EF4-FFF2-40B4-BE49-F238E27FC236}">
                <a16:creationId xmlns:a16="http://schemas.microsoft.com/office/drawing/2014/main" xmlns="" id="{D3856E1E-9D15-4EBA-8746-5A527502EA87}"/>
              </a:ext>
            </a:extLst>
          </p:cNvPr>
          <p:cNvSpPr txBox="1"/>
          <p:nvPr/>
        </p:nvSpPr>
        <p:spPr>
          <a:xfrm flipH="1">
            <a:off x="6409248" y="4498569"/>
            <a:ext cx="1073476" cy="215444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r" defTabSz="932239" rtl="1">
              <a:defRPr/>
            </a:pPr>
            <a:r>
              <a:rPr lang="ar-SA" sz="700" b="1" kern="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  <a:rtl/>
              </a:rPr>
              <a:t>البيانات غير المنسقة (مثل الجداول) </a:t>
            </a:r>
            <a:r>
              <a:rPr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ar-SA" sz="700" kern="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  <a:rtl/>
              </a:rPr>
              <a:t>في مجلدات </a:t>
            </a:r>
            <a:r>
              <a:rPr lang="ar-SA" sz="700" kern="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CDM</a:t>
            </a: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xmlns="" id="{561451C9-786E-4230-AD2B-B5F234738D80}"/>
              </a:ext>
            </a:extLst>
          </p:cNvPr>
          <p:cNvGrpSpPr/>
          <p:nvPr/>
        </p:nvGrpSpPr>
        <p:grpSpPr>
          <a:xfrm flipH="1">
            <a:off x="5586401" y="4388008"/>
            <a:ext cx="112018" cy="108198"/>
            <a:chOff x="4954385" y="3496924"/>
            <a:chExt cx="871336" cy="871322"/>
          </a:xfrm>
        </p:grpSpPr>
        <p:sp>
          <p:nvSpPr>
            <p:cNvPr id="187" name="Oval 186">
              <a:extLst>
                <a:ext uri="{FF2B5EF4-FFF2-40B4-BE49-F238E27FC236}">
                  <a16:creationId xmlns:a16="http://schemas.microsoft.com/office/drawing/2014/main" xmlns="" id="{757B45BE-6E86-461A-A77B-B47681591096}"/>
                </a:ext>
              </a:extLst>
            </p:cNvPr>
            <p:cNvSpPr/>
            <p:nvPr/>
          </p:nvSpPr>
          <p:spPr bwMode="auto">
            <a:xfrm>
              <a:off x="4954517" y="3497053"/>
              <a:ext cx="871064" cy="871064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IN" sz="1600" err="1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xmlns="" id="{8EACA33B-C113-4BCD-AAD2-CBA621055CDF}"/>
                </a:ext>
              </a:extLst>
            </p:cNvPr>
            <p:cNvSpPr/>
            <p:nvPr/>
          </p:nvSpPr>
          <p:spPr bwMode="auto">
            <a:xfrm>
              <a:off x="4954385" y="3496924"/>
              <a:ext cx="871336" cy="87132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" sz="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3</a:t>
              </a:r>
              <a:endParaRPr lang="en-IN" sz="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9" name="TextBox 188">
            <a:extLst>
              <a:ext uri="{FF2B5EF4-FFF2-40B4-BE49-F238E27FC236}">
                <a16:creationId xmlns:a16="http://schemas.microsoft.com/office/drawing/2014/main" xmlns="" id="{82EB36F4-1C06-4347-BC9E-8371A4CC3900}"/>
              </a:ext>
            </a:extLst>
          </p:cNvPr>
          <p:cNvSpPr txBox="1"/>
          <p:nvPr/>
        </p:nvSpPr>
        <p:spPr>
          <a:xfrm flipH="1">
            <a:off x="4601935" y="4498569"/>
            <a:ext cx="1182386" cy="323165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r" defTabSz="932239" rtl="1">
              <a:defRPr/>
            </a:pPr>
            <a:r>
              <a:rPr lang="ar-SA" sz="700" b="1" kern="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  <a:rtl/>
              </a:rPr>
              <a:t>أنطولوجيات الكيانات </a:t>
            </a:r>
          </a:p>
          <a:p>
            <a:pPr algn="r" defTabSz="932239" rtl="1">
              <a:defRPr/>
            </a:pPr>
            <a:r>
              <a:rPr lang="ar-SA" sz="700" kern="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  <a:rtl/>
              </a:rPr>
              <a:t>المخططات النجمية</a:t>
            </a:r>
            <a:r>
              <a:rPr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ar-SA" sz="700" kern="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  <a:rtl/>
              </a:rPr>
              <a:t>تدفقات البيانات و/أو </a:t>
            </a:r>
            <a:r>
              <a:rPr lang="ar-SA" sz="700" kern="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Spark</a:t>
            </a:r>
          </a:p>
        </p:txBody>
      </p:sp>
      <p:sp>
        <p:nvSpPr>
          <p:cNvPr id="190" name="FolderHorizontal_F12B" title="Icon of a folder">
            <a:extLst>
              <a:ext uri="{FF2B5EF4-FFF2-40B4-BE49-F238E27FC236}">
                <a16:creationId xmlns:a16="http://schemas.microsoft.com/office/drawing/2014/main" xmlns="" id="{9C14B3F4-8D00-4839-85A1-EC0F705D6F0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11384" y="4152181"/>
            <a:ext cx="289489" cy="205192"/>
          </a:xfrm>
          <a:custGeom>
            <a:avLst/>
            <a:gdLst>
              <a:gd name="T0" fmla="*/ 0 w 3758"/>
              <a:gd name="T1" fmla="*/ 126 h 2756"/>
              <a:gd name="T2" fmla="*/ 126 w 3758"/>
              <a:gd name="T3" fmla="*/ 0 h 2756"/>
              <a:gd name="T4" fmla="*/ 1065 w 3758"/>
              <a:gd name="T5" fmla="*/ 0 h 2756"/>
              <a:gd name="T6" fmla="*/ 1378 w 3758"/>
              <a:gd name="T7" fmla="*/ 126 h 2756"/>
              <a:gd name="T8" fmla="*/ 1691 w 3758"/>
              <a:gd name="T9" fmla="*/ 251 h 2756"/>
              <a:gd name="T10" fmla="*/ 3633 w 3758"/>
              <a:gd name="T11" fmla="*/ 251 h 2756"/>
              <a:gd name="T12" fmla="*/ 3758 w 3758"/>
              <a:gd name="T13" fmla="*/ 376 h 2756"/>
              <a:gd name="T14" fmla="*/ 3758 w 3758"/>
              <a:gd name="T15" fmla="*/ 2756 h 2756"/>
              <a:gd name="T16" fmla="*/ 0 w 3758"/>
              <a:gd name="T17" fmla="*/ 2756 h 2756"/>
              <a:gd name="T18" fmla="*/ 0 w 3758"/>
              <a:gd name="T19" fmla="*/ 126 h 2756"/>
              <a:gd name="T20" fmla="*/ 0 w 3758"/>
              <a:gd name="T21" fmla="*/ 501 h 2756"/>
              <a:gd name="T22" fmla="*/ 1065 w 3758"/>
              <a:gd name="T23" fmla="*/ 501 h 2756"/>
              <a:gd name="T24" fmla="*/ 1378 w 3758"/>
              <a:gd name="T25" fmla="*/ 376 h 2756"/>
              <a:gd name="T26" fmla="*/ 1691 w 3758"/>
              <a:gd name="T27" fmla="*/ 251 h 27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58" h="2756">
                <a:moveTo>
                  <a:pt x="0" y="126"/>
                </a:moveTo>
                <a:cubicBezTo>
                  <a:pt x="0" y="56"/>
                  <a:pt x="56" y="0"/>
                  <a:pt x="126" y="0"/>
                </a:cubicBezTo>
                <a:cubicBezTo>
                  <a:pt x="1065" y="0"/>
                  <a:pt x="1065" y="0"/>
                  <a:pt x="1065" y="0"/>
                </a:cubicBezTo>
                <a:cubicBezTo>
                  <a:pt x="1187" y="0"/>
                  <a:pt x="1298" y="48"/>
                  <a:pt x="1378" y="126"/>
                </a:cubicBezTo>
                <a:cubicBezTo>
                  <a:pt x="1458" y="203"/>
                  <a:pt x="1569" y="251"/>
                  <a:pt x="1691" y="251"/>
                </a:cubicBezTo>
                <a:cubicBezTo>
                  <a:pt x="3633" y="251"/>
                  <a:pt x="3633" y="251"/>
                  <a:pt x="3633" y="251"/>
                </a:cubicBezTo>
                <a:cubicBezTo>
                  <a:pt x="3702" y="251"/>
                  <a:pt x="3758" y="307"/>
                  <a:pt x="3758" y="376"/>
                </a:cubicBezTo>
                <a:cubicBezTo>
                  <a:pt x="3758" y="2756"/>
                  <a:pt x="3758" y="2756"/>
                  <a:pt x="3758" y="2756"/>
                </a:cubicBezTo>
                <a:cubicBezTo>
                  <a:pt x="0" y="2756"/>
                  <a:pt x="0" y="2756"/>
                  <a:pt x="0" y="2756"/>
                </a:cubicBezTo>
                <a:lnTo>
                  <a:pt x="0" y="126"/>
                </a:lnTo>
                <a:close/>
                <a:moveTo>
                  <a:pt x="0" y="501"/>
                </a:moveTo>
                <a:cubicBezTo>
                  <a:pt x="1065" y="501"/>
                  <a:pt x="1065" y="501"/>
                  <a:pt x="1065" y="501"/>
                </a:cubicBezTo>
                <a:cubicBezTo>
                  <a:pt x="1187" y="501"/>
                  <a:pt x="1298" y="453"/>
                  <a:pt x="1378" y="376"/>
                </a:cubicBezTo>
                <a:cubicBezTo>
                  <a:pt x="1458" y="299"/>
                  <a:pt x="1569" y="251"/>
                  <a:pt x="1691" y="251"/>
                </a:cubicBezTo>
              </a:path>
            </a:pathLst>
          </a:custGeom>
          <a:noFill/>
          <a:ln w="15875" cap="sq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algn="r" rtl="1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1" name="FolderHorizontal_F12B" title="Icon of a folder">
            <a:extLst>
              <a:ext uri="{FF2B5EF4-FFF2-40B4-BE49-F238E27FC236}">
                <a16:creationId xmlns:a16="http://schemas.microsoft.com/office/drawing/2014/main" xmlns="" id="{CD27B1EE-8ED8-45F9-8F4C-CE5BAEAC675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87130" y="4152181"/>
            <a:ext cx="289489" cy="205192"/>
          </a:xfrm>
          <a:custGeom>
            <a:avLst/>
            <a:gdLst>
              <a:gd name="T0" fmla="*/ 0 w 3758"/>
              <a:gd name="T1" fmla="*/ 126 h 2756"/>
              <a:gd name="T2" fmla="*/ 126 w 3758"/>
              <a:gd name="T3" fmla="*/ 0 h 2756"/>
              <a:gd name="T4" fmla="*/ 1065 w 3758"/>
              <a:gd name="T5" fmla="*/ 0 h 2756"/>
              <a:gd name="T6" fmla="*/ 1378 w 3758"/>
              <a:gd name="T7" fmla="*/ 126 h 2756"/>
              <a:gd name="T8" fmla="*/ 1691 w 3758"/>
              <a:gd name="T9" fmla="*/ 251 h 2756"/>
              <a:gd name="T10" fmla="*/ 3633 w 3758"/>
              <a:gd name="T11" fmla="*/ 251 h 2756"/>
              <a:gd name="T12" fmla="*/ 3758 w 3758"/>
              <a:gd name="T13" fmla="*/ 376 h 2756"/>
              <a:gd name="T14" fmla="*/ 3758 w 3758"/>
              <a:gd name="T15" fmla="*/ 2756 h 2756"/>
              <a:gd name="T16" fmla="*/ 0 w 3758"/>
              <a:gd name="T17" fmla="*/ 2756 h 2756"/>
              <a:gd name="T18" fmla="*/ 0 w 3758"/>
              <a:gd name="T19" fmla="*/ 126 h 2756"/>
              <a:gd name="T20" fmla="*/ 0 w 3758"/>
              <a:gd name="T21" fmla="*/ 501 h 2756"/>
              <a:gd name="T22" fmla="*/ 1065 w 3758"/>
              <a:gd name="T23" fmla="*/ 501 h 2756"/>
              <a:gd name="T24" fmla="*/ 1378 w 3758"/>
              <a:gd name="T25" fmla="*/ 376 h 2756"/>
              <a:gd name="T26" fmla="*/ 1691 w 3758"/>
              <a:gd name="T27" fmla="*/ 251 h 27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58" h="2756">
                <a:moveTo>
                  <a:pt x="0" y="126"/>
                </a:moveTo>
                <a:cubicBezTo>
                  <a:pt x="0" y="56"/>
                  <a:pt x="56" y="0"/>
                  <a:pt x="126" y="0"/>
                </a:cubicBezTo>
                <a:cubicBezTo>
                  <a:pt x="1065" y="0"/>
                  <a:pt x="1065" y="0"/>
                  <a:pt x="1065" y="0"/>
                </a:cubicBezTo>
                <a:cubicBezTo>
                  <a:pt x="1187" y="0"/>
                  <a:pt x="1298" y="48"/>
                  <a:pt x="1378" y="126"/>
                </a:cubicBezTo>
                <a:cubicBezTo>
                  <a:pt x="1458" y="203"/>
                  <a:pt x="1569" y="251"/>
                  <a:pt x="1691" y="251"/>
                </a:cubicBezTo>
                <a:cubicBezTo>
                  <a:pt x="3633" y="251"/>
                  <a:pt x="3633" y="251"/>
                  <a:pt x="3633" y="251"/>
                </a:cubicBezTo>
                <a:cubicBezTo>
                  <a:pt x="3702" y="251"/>
                  <a:pt x="3758" y="307"/>
                  <a:pt x="3758" y="376"/>
                </a:cubicBezTo>
                <a:cubicBezTo>
                  <a:pt x="3758" y="2756"/>
                  <a:pt x="3758" y="2756"/>
                  <a:pt x="3758" y="2756"/>
                </a:cubicBezTo>
                <a:cubicBezTo>
                  <a:pt x="0" y="2756"/>
                  <a:pt x="0" y="2756"/>
                  <a:pt x="0" y="2756"/>
                </a:cubicBezTo>
                <a:lnTo>
                  <a:pt x="0" y="126"/>
                </a:lnTo>
                <a:close/>
                <a:moveTo>
                  <a:pt x="0" y="501"/>
                </a:moveTo>
                <a:cubicBezTo>
                  <a:pt x="1065" y="501"/>
                  <a:pt x="1065" y="501"/>
                  <a:pt x="1065" y="501"/>
                </a:cubicBezTo>
                <a:cubicBezTo>
                  <a:pt x="1187" y="501"/>
                  <a:pt x="1298" y="453"/>
                  <a:pt x="1378" y="376"/>
                </a:cubicBezTo>
                <a:cubicBezTo>
                  <a:pt x="1458" y="299"/>
                  <a:pt x="1569" y="251"/>
                  <a:pt x="1691" y="251"/>
                </a:cubicBezTo>
              </a:path>
            </a:pathLst>
          </a:custGeom>
          <a:noFill/>
          <a:ln w="15875" cap="sq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algn="r" rtl="1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2" name="FolderHorizontal_F12B" title="Icon of a folder">
            <a:extLst>
              <a:ext uri="{FF2B5EF4-FFF2-40B4-BE49-F238E27FC236}">
                <a16:creationId xmlns:a16="http://schemas.microsoft.com/office/drawing/2014/main" xmlns="" id="{8BC0B8C9-F409-47BA-8FB2-5DF4B6EC7C7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019031" y="3664115"/>
            <a:ext cx="289489" cy="205192"/>
          </a:xfrm>
          <a:custGeom>
            <a:avLst/>
            <a:gdLst>
              <a:gd name="T0" fmla="*/ 0 w 3758"/>
              <a:gd name="T1" fmla="*/ 126 h 2756"/>
              <a:gd name="T2" fmla="*/ 126 w 3758"/>
              <a:gd name="T3" fmla="*/ 0 h 2756"/>
              <a:gd name="T4" fmla="*/ 1065 w 3758"/>
              <a:gd name="T5" fmla="*/ 0 h 2756"/>
              <a:gd name="T6" fmla="*/ 1378 w 3758"/>
              <a:gd name="T7" fmla="*/ 126 h 2756"/>
              <a:gd name="T8" fmla="*/ 1691 w 3758"/>
              <a:gd name="T9" fmla="*/ 251 h 2756"/>
              <a:gd name="T10" fmla="*/ 3633 w 3758"/>
              <a:gd name="T11" fmla="*/ 251 h 2756"/>
              <a:gd name="T12" fmla="*/ 3758 w 3758"/>
              <a:gd name="T13" fmla="*/ 376 h 2756"/>
              <a:gd name="T14" fmla="*/ 3758 w 3758"/>
              <a:gd name="T15" fmla="*/ 2756 h 2756"/>
              <a:gd name="T16" fmla="*/ 0 w 3758"/>
              <a:gd name="T17" fmla="*/ 2756 h 2756"/>
              <a:gd name="T18" fmla="*/ 0 w 3758"/>
              <a:gd name="T19" fmla="*/ 126 h 2756"/>
              <a:gd name="T20" fmla="*/ 0 w 3758"/>
              <a:gd name="T21" fmla="*/ 501 h 2756"/>
              <a:gd name="T22" fmla="*/ 1065 w 3758"/>
              <a:gd name="T23" fmla="*/ 501 h 2756"/>
              <a:gd name="T24" fmla="*/ 1378 w 3758"/>
              <a:gd name="T25" fmla="*/ 376 h 2756"/>
              <a:gd name="T26" fmla="*/ 1691 w 3758"/>
              <a:gd name="T27" fmla="*/ 251 h 27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58" h="2756">
                <a:moveTo>
                  <a:pt x="0" y="126"/>
                </a:moveTo>
                <a:cubicBezTo>
                  <a:pt x="0" y="56"/>
                  <a:pt x="56" y="0"/>
                  <a:pt x="126" y="0"/>
                </a:cubicBezTo>
                <a:cubicBezTo>
                  <a:pt x="1065" y="0"/>
                  <a:pt x="1065" y="0"/>
                  <a:pt x="1065" y="0"/>
                </a:cubicBezTo>
                <a:cubicBezTo>
                  <a:pt x="1187" y="0"/>
                  <a:pt x="1298" y="48"/>
                  <a:pt x="1378" y="126"/>
                </a:cubicBezTo>
                <a:cubicBezTo>
                  <a:pt x="1458" y="203"/>
                  <a:pt x="1569" y="251"/>
                  <a:pt x="1691" y="251"/>
                </a:cubicBezTo>
                <a:cubicBezTo>
                  <a:pt x="3633" y="251"/>
                  <a:pt x="3633" y="251"/>
                  <a:pt x="3633" y="251"/>
                </a:cubicBezTo>
                <a:cubicBezTo>
                  <a:pt x="3702" y="251"/>
                  <a:pt x="3758" y="307"/>
                  <a:pt x="3758" y="376"/>
                </a:cubicBezTo>
                <a:cubicBezTo>
                  <a:pt x="3758" y="2756"/>
                  <a:pt x="3758" y="2756"/>
                  <a:pt x="3758" y="2756"/>
                </a:cubicBezTo>
                <a:cubicBezTo>
                  <a:pt x="0" y="2756"/>
                  <a:pt x="0" y="2756"/>
                  <a:pt x="0" y="2756"/>
                </a:cubicBezTo>
                <a:lnTo>
                  <a:pt x="0" y="126"/>
                </a:lnTo>
                <a:close/>
                <a:moveTo>
                  <a:pt x="0" y="501"/>
                </a:moveTo>
                <a:cubicBezTo>
                  <a:pt x="1065" y="501"/>
                  <a:pt x="1065" y="501"/>
                  <a:pt x="1065" y="501"/>
                </a:cubicBezTo>
                <a:cubicBezTo>
                  <a:pt x="1187" y="501"/>
                  <a:pt x="1298" y="453"/>
                  <a:pt x="1378" y="376"/>
                </a:cubicBezTo>
                <a:cubicBezTo>
                  <a:pt x="1458" y="299"/>
                  <a:pt x="1569" y="251"/>
                  <a:pt x="1691" y="251"/>
                </a:cubicBezTo>
              </a:path>
            </a:pathLst>
          </a:custGeom>
          <a:noFill/>
          <a:ln w="15875" cap="sq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algn="r" rtl="1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xmlns="" id="{BB7EF964-74B2-48B4-ABA4-E74BFF7D2B3E}"/>
              </a:ext>
            </a:extLst>
          </p:cNvPr>
          <p:cNvCxnSpPr>
            <a:cxnSpLocks/>
          </p:cNvCxnSpPr>
          <p:nvPr/>
        </p:nvCxnSpPr>
        <p:spPr>
          <a:xfrm flipH="1">
            <a:off x="5698402" y="4277633"/>
            <a:ext cx="930747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xmlns="" id="{E0DD700B-1F8B-46FC-A6AE-57447835DDDA}"/>
              </a:ext>
            </a:extLst>
          </p:cNvPr>
          <p:cNvCxnSpPr>
            <a:cxnSpLocks/>
          </p:cNvCxnSpPr>
          <p:nvPr/>
        </p:nvCxnSpPr>
        <p:spPr>
          <a:xfrm flipH="1" flipV="1">
            <a:off x="6365564" y="3794543"/>
            <a:ext cx="462301" cy="325584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xmlns="" id="{CA502C0C-6D71-44DA-8EC7-392F1B570E89}"/>
              </a:ext>
            </a:extLst>
          </p:cNvPr>
          <p:cNvCxnSpPr>
            <a:cxnSpLocks/>
          </p:cNvCxnSpPr>
          <p:nvPr/>
        </p:nvCxnSpPr>
        <p:spPr>
          <a:xfrm flipV="1">
            <a:off x="5507967" y="3794543"/>
            <a:ext cx="462301" cy="325584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headEnd type="arrow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TextBox 195">
            <a:extLst>
              <a:ext uri="{FF2B5EF4-FFF2-40B4-BE49-F238E27FC236}">
                <a16:creationId xmlns:a16="http://schemas.microsoft.com/office/drawing/2014/main" xmlns="" id="{9A472A16-6094-4087-BA97-AAADC0909129}"/>
              </a:ext>
            </a:extLst>
          </p:cNvPr>
          <p:cNvSpPr txBox="1"/>
          <p:nvPr/>
        </p:nvSpPr>
        <p:spPr>
          <a:xfrm flipH="1">
            <a:off x="5809013" y="4303973"/>
            <a:ext cx="842956" cy="246221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defTabSz="932239" rtl="1">
              <a:defRPr/>
            </a:pPr>
            <a:r>
              <a:rPr lang="" sz="800" kern="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ADLS Gen2</a:t>
            </a:r>
            <a:r>
              <a:rPr lang="ar-SA" sz="800" kern="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  <a:rtl/>
              </a:rPr>
              <a:t> للعميل</a:t>
            </a:r>
          </a:p>
          <a:p>
            <a:pPr algn="ctr" defTabSz="932239" rtl="1">
              <a:defRPr/>
            </a:pPr>
            <a:r>
              <a:rPr lang="ar-SA" sz="800" kern="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Data lake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xmlns="" id="{AF529BE0-703E-42E3-8DAC-669D34ED400B}"/>
              </a:ext>
            </a:extLst>
          </p:cNvPr>
          <p:cNvSpPr txBox="1"/>
          <p:nvPr/>
        </p:nvSpPr>
        <p:spPr>
          <a:xfrm flipH="1">
            <a:off x="5781612" y="3416196"/>
            <a:ext cx="764325" cy="215444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ctr" defTabSz="932239" rtl="1">
              <a:defRPr/>
            </a:pPr>
            <a:r>
              <a:rPr lang="ar-SA" sz="700" b="1" kern="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  <a:rtl/>
              </a:rPr>
              <a:t>الكيانات</a:t>
            </a:r>
          </a:p>
          <a:p>
            <a:pPr algn="ctr" defTabSz="932239" rtl="1">
              <a:defRPr/>
            </a:pPr>
            <a:r>
              <a:rPr lang="ar-SA" sz="700" kern="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  <a:rtl/>
              </a:rPr>
              <a:t>في مجلدات </a:t>
            </a:r>
            <a:r>
              <a:rPr lang="ar-SA" sz="700" kern="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CDM</a:t>
            </a:r>
          </a:p>
        </p:txBody>
      </p:sp>
      <p:cxnSp>
        <p:nvCxnSpPr>
          <p:cNvPr id="198" name="Straight Arrow Connector 197">
            <a:extLst>
              <a:ext uri="{FF2B5EF4-FFF2-40B4-BE49-F238E27FC236}">
                <a16:creationId xmlns:a16="http://schemas.microsoft.com/office/drawing/2014/main" xmlns="" id="{F8E1E33C-BA28-40B0-B66E-A225FD1A7004}"/>
              </a:ext>
            </a:extLst>
          </p:cNvPr>
          <p:cNvCxnSpPr/>
          <p:nvPr/>
        </p:nvCxnSpPr>
        <p:spPr>
          <a:xfrm flipH="1" flipV="1">
            <a:off x="6988429" y="3065736"/>
            <a:ext cx="0" cy="830294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xmlns="" id="{294765F4-9D81-466C-BDC2-0C35C94B24FD}"/>
              </a:ext>
            </a:extLst>
          </p:cNvPr>
          <p:cNvCxnSpPr/>
          <p:nvPr/>
        </p:nvCxnSpPr>
        <p:spPr>
          <a:xfrm flipH="1" flipV="1">
            <a:off x="5365338" y="3065736"/>
            <a:ext cx="0" cy="830294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Arrow Connector 199">
            <a:extLst>
              <a:ext uri="{FF2B5EF4-FFF2-40B4-BE49-F238E27FC236}">
                <a16:creationId xmlns:a16="http://schemas.microsoft.com/office/drawing/2014/main" xmlns="" id="{B91990AD-6DA4-4856-B4D7-5AFF7A9E7547}"/>
              </a:ext>
            </a:extLst>
          </p:cNvPr>
          <p:cNvCxnSpPr>
            <a:cxnSpLocks/>
          </p:cNvCxnSpPr>
          <p:nvPr/>
        </p:nvCxnSpPr>
        <p:spPr>
          <a:xfrm flipH="1" flipV="1">
            <a:off x="6176884" y="3065736"/>
            <a:ext cx="0" cy="300059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TextBox 203">
            <a:extLst>
              <a:ext uri="{FF2B5EF4-FFF2-40B4-BE49-F238E27FC236}">
                <a16:creationId xmlns:a16="http://schemas.microsoft.com/office/drawing/2014/main" xmlns="" id="{21E0C606-1340-47F9-A1E3-F6817E286CEE}"/>
              </a:ext>
            </a:extLst>
          </p:cNvPr>
          <p:cNvSpPr txBox="1"/>
          <p:nvPr/>
        </p:nvSpPr>
        <p:spPr>
          <a:xfrm flipH="1">
            <a:off x="5219173" y="5347473"/>
            <a:ext cx="1608692" cy="138499"/>
          </a:xfrm>
          <a:prstGeom prst="rect">
            <a:avLst/>
          </a:prstGeom>
          <a:noFill/>
        </p:spPr>
        <p:txBody>
          <a:bodyPr wrap="square" lIns="0" tIns="0" rIns="0" bIns="0" rtlCol="1" anchor="ctr" anchorCtr="0">
            <a:spAutoFit/>
          </a:bodyPr>
          <a:lstStyle/>
          <a:p>
            <a:pPr algn="ctr" defTabSz="951156" rtl="1">
              <a:defRPr/>
            </a:pPr>
            <a:r>
              <a:rPr lang="ar-SA" sz="900" dirty="0">
                <a:solidFill>
                  <a:srgbClr val="243A5E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مصادر بيانات أخرى</a:t>
            </a:r>
          </a:p>
        </p:txBody>
      </p:sp>
      <p:cxnSp>
        <p:nvCxnSpPr>
          <p:cNvPr id="205" name="Straight Arrow Connector 204">
            <a:extLst>
              <a:ext uri="{FF2B5EF4-FFF2-40B4-BE49-F238E27FC236}">
                <a16:creationId xmlns:a16="http://schemas.microsoft.com/office/drawing/2014/main" xmlns="" id="{91C7C63F-406E-4A07-8E15-8455A89BBD23}"/>
              </a:ext>
            </a:extLst>
          </p:cNvPr>
          <p:cNvCxnSpPr>
            <a:cxnSpLocks/>
          </p:cNvCxnSpPr>
          <p:nvPr/>
        </p:nvCxnSpPr>
        <p:spPr>
          <a:xfrm flipH="1" flipV="1">
            <a:off x="6306989" y="5090897"/>
            <a:ext cx="0" cy="220502"/>
          </a:xfrm>
          <a:prstGeom prst="straightConnector1">
            <a:avLst/>
          </a:prstGeom>
          <a:ln w="22225">
            <a:solidFill>
              <a:schemeClr val="bg1">
                <a:lumMod val="75000"/>
              </a:schemeClr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Arrow Connector 205">
            <a:extLst>
              <a:ext uri="{FF2B5EF4-FFF2-40B4-BE49-F238E27FC236}">
                <a16:creationId xmlns:a16="http://schemas.microsoft.com/office/drawing/2014/main" xmlns="" id="{35E7D485-9AAD-4E92-8490-48798D08F14C}"/>
              </a:ext>
            </a:extLst>
          </p:cNvPr>
          <p:cNvCxnSpPr>
            <a:cxnSpLocks/>
          </p:cNvCxnSpPr>
          <p:nvPr/>
        </p:nvCxnSpPr>
        <p:spPr>
          <a:xfrm flipH="1" flipV="1">
            <a:off x="6037799" y="5090897"/>
            <a:ext cx="0" cy="220502"/>
          </a:xfrm>
          <a:prstGeom prst="straightConnector1">
            <a:avLst/>
          </a:prstGeom>
          <a:ln w="22225">
            <a:solidFill>
              <a:schemeClr val="bg1">
                <a:lumMod val="75000"/>
              </a:schemeClr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xmlns="" id="{1146AB59-B005-407F-952E-EB57AA7305DD}"/>
              </a:ext>
            </a:extLst>
          </p:cNvPr>
          <p:cNvCxnSpPr>
            <a:cxnSpLocks/>
          </p:cNvCxnSpPr>
          <p:nvPr/>
        </p:nvCxnSpPr>
        <p:spPr>
          <a:xfrm flipH="1" flipV="1">
            <a:off x="5766499" y="5087070"/>
            <a:ext cx="0" cy="224329"/>
          </a:xfrm>
          <a:prstGeom prst="straightConnector1">
            <a:avLst/>
          </a:prstGeom>
          <a:ln w="22225">
            <a:solidFill>
              <a:schemeClr val="bg1">
                <a:lumMod val="75000"/>
              </a:schemeClr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2" name="Group 211">
            <a:extLst>
              <a:ext uri="{FF2B5EF4-FFF2-40B4-BE49-F238E27FC236}">
                <a16:creationId xmlns:a16="http://schemas.microsoft.com/office/drawing/2014/main" xmlns="" id="{7179B075-18B7-4D53-A826-F4F224F07E58}"/>
              </a:ext>
            </a:extLst>
          </p:cNvPr>
          <p:cNvGrpSpPr/>
          <p:nvPr/>
        </p:nvGrpSpPr>
        <p:grpSpPr>
          <a:xfrm flipH="1">
            <a:off x="6103132" y="3889273"/>
            <a:ext cx="124756" cy="120502"/>
            <a:chOff x="4904843" y="3447382"/>
            <a:chExt cx="970419" cy="970406"/>
          </a:xfrm>
        </p:grpSpPr>
        <p:sp>
          <p:nvSpPr>
            <p:cNvPr id="213" name="Oval 212">
              <a:extLst>
                <a:ext uri="{FF2B5EF4-FFF2-40B4-BE49-F238E27FC236}">
                  <a16:creationId xmlns:a16="http://schemas.microsoft.com/office/drawing/2014/main" xmlns="" id="{D372DF4F-0F94-4BCA-AC51-DD48D307EDCA}"/>
                </a:ext>
              </a:extLst>
            </p:cNvPr>
            <p:cNvSpPr/>
            <p:nvPr/>
          </p:nvSpPr>
          <p:spPr bwMode="auto">
            <a:xfrm>
              <a:off x="4954517" y="3497053"/>
              <a:ext cx="871064" cy="871064"/>
            </a:xfrm>
            <a:prstGeom prst="ellips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32472" rtl="1" fontAlgn="base">
                <a:spcBef>
                  <a:spcPct val="0"/>
                </a:spcBef>
                <a:spcAft>
                  <a:spcPct val="0"/>
                </a:spcAft>
              </a:pPr>
              <a:endParaRPr lang="en-IN" sz="1600" err="1">
                <a:solidFill>
                  <a:srgbClr val="FFFFFF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xmlns="" id="{CE0BAF0B-DB55-44C0-9A17-EE52A35CFE28}"/>
                </a:ext>
              </a:extLst>
            </p:cNvPr>
            <p:cNvSpPr/>
            <p:nvPr/>
          </p:nvSpPr>
          <p:spPr bwMode="auto">
            <a:xfrm>
              <a:off x="4904843" y="3447382"/>
              <a:ext cx="970419" cy="97040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1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rtl="1" fontAlgn="base">
                <a:spcBef>
                  <a:spcPct val="0"/>
                </a:spcBef>
                <a:spcAft>
                  <a:spcPct val="0"/>
                </a:spcAft>
              </a:pPr>
              <a:r>
                <a:rPr lang="" sz="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rtl val="0"/>
                </a:rPr>
                <a:t>2</a:t>
              </a:r>
              <a:endParaRPr lang="en-IN" sz="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15" name="Cylinder 214">
            <a:extLst>
              <a:ext uri="{FF2B5EF4-FFF2-40B4-BE49-F238E27FC236}">
                <a16:creationId xmlns:a16="http://schemas.microsoft.com/office/drawing/2014/main" xmlns="" id="{E7AF6B0F-4A06-4791-91F1-CB511E451466}"/>
              </a:ext>
            </a:extLst>
          </p:cNvPr>
          <p:cNvSpPr/>
          <p:nvPr/>
        </p:nvSpPr>
        <p:spPr bwMode="auto">
          <a:xfrm flipH="1">
            <a:off x="6651972" y="5087070"/>
            <a:ext cx="718768" cy="380048"/>
          </a:xfrm>
          <a:prstGeom prst="can">
            <a:avLst/>
          </a:prstGeom>
          <a:solidFill>
            <a:srgbClr val="4472C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0845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ar-SA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 val="0"/>
              </a:rPr>
              <a:t>AXDB</a:t>
            </a:r>
            <a:r>
              <a:rPr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ar-SA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 val="0"/>
              </a:rPr>
              <a:t>(‏</a:t>
            </a:r>
            <a:r>
              <a:rPr lang="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/>
              </a:rPr>
              <a:t>AX2012/AX2009</a:t>
            </a:r>
            <a:r>
              <a:rPr lang="ar-SA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  <a:rtl val="0"/>
              </a:rPr>
              <a:t>)</a:t>
            </a:r>
            <a:endParaRPr lang="en-US" sz="200" b="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 panose="020B0604020202020204" pitchFamily="34" charset="0"/>
              <a:ea typeface="Segoe UI" pitchFamily="34" charset="0"/>
              <a:cs typeface="Arial" panose="020B0604020202020204" pitchFamily="34" charset="0"/>
            </a:endParaRPr>
          </a:p>
        </p:txBody>
      </p:sp>
      <p:cxnSp>
        <p:nvCxnSpPr>
          <p:cNvPr id="216" name="Straight Arrow Connector 215">
            <a:extLst>
              <a:ext uri="{FF2B5EF4-FFF2-40B4-BE49-F238E27FC236}">
                <a16:creationId xmlns:a16="http://schemas.microsoft.com/office/drawing/2014/main" xmlns="" id="{7B79ADC4-C473-4AAF-A75A-5C977A8A003C}"/>
              </a:ext>
            </a:extLst>
          </p:cNvPr>
          <p:cNvCxnSpPr>
            <a:cxnSpLocks/>
          </p:cNvCxnSpPr>
          <p:nvPr/>
        </p:nvCxnSpPr>
        <p:spPr>
          <a:xfrm flipH="1" flipV="1">
            <a:off x="6988429" y="4837911"/>
            <a:ext cx="0" cy="220502"/>
          </a:xfrm>
          <a:prstGeom prst="straightConnector1">
            <a:avLst/>
          </a:prstGeom>
          <a:ln w="22225">
            <a:solidFill>
              <a:schemeClr val="bg1">
                <a:lumMod val="75000"/>
              </a:schemeClr>
            </a:solidFill>
            <a:headEnd type="none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7" name="Picture 7" descr="See the source image">
            <a:extLst>
              <a:ext uri="{FF2B5EF4-FFF2-40B4-BE49-F238E27FC236}">
                <a16:creationId xmlns:a16="http://schemas.microsoft.com/office/drawing/2014/main" xmlns="" id="{A2318599-5102-4580-BFA9-40C9B0EE5C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3930" y="4715998"/>
            <a:ext cx="282954" cy="241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077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1045029"/>
            <a:ext cx="11916229" cy="4978400"/>
          </a:xfrm>
          <a:prstGeom prst="rect">
            <a:avLst/>
          </a:prstGeom>
          <a:solidFill>
            <a:srgbClr val="F1F0F0"/>
          </a:solidFill>
          <a:ln>
            <a:solidFill>
              <a:srgbClr val="F1F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factory_3" hidden="1" title="Icon of a factory">
            <a:extLst>
              <a:ext uri="{FF2B5EF4-FFF2-40B4-BE49-F238E27FC236}">
                <a16:creationId xmlns:a16="http://schemas.microsoft.com/office/drawing/2014/main" xmlns="" id="{C934AF6E-7697-43EB-80E1-4B17CAD4411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82132" y="2742574"/>
            <a:ext cx="471624" cy="315590"/>
          </a:xfrm>
          <a:custGeom>
            <a:avLst/>
            <a:gdLst>
              <a:gd name="T0" fmla="*/ 394 w 394"/>
              <a:gd name="T1" fmla="*/ 101 h 244"/>
              <a:gd name="T2" fmla="*/ 394 w 394"/>
              <a:gd name="T3" fmla="*/ 244 h 244"/>
              <a:gd name="T4" fmla="*/ 0 w 394"/>
              <a:gd name="T5" fmla="*/ 244 h 244"/>
              <a:gd name="T6" fmla="*/ 0 w 394"/>
              <a:gd name="T7" fmla="*/ 101 h 244"/>
              <a:gd name="T8" fmla="*/ 76 w 394"/>
              <a:gd name="T9" fmla="*/ 45 h 244"/>
              <a:gd name="T10" fmla="*/ 76 w 394"/>
              <a:gd name="T11" fmla="*/ 101 h 244"/>
              <a:gd name="T12" fmla="*/ 160 w 394"/>
              <a:gd name="T13" fmla="*/ 45 h 244"/>
              <a:gd name="T14" fmla="*/ 160 w 394"/>
              <a:gd name="T15" fmla="*/ 101 h 244"/>
              <a:gd name="T16" fmla="*/ 394 w 394"/>
              <a:gd name="T17" fmla="*/ 101 h 244"/>
              <a:gd name="T18" fmla="*/ 309 w 394"/>
              <a:gd name="T19" fmla="*/ 101 h 244"/>
              <a:gd name="T20" fmla="*/ 289 w 394"/>
              <a:gd name="T21" fmla="*/ 0 h 244"/>
              <a:gd name="T22" fmla="*/ 273 w 394"/>
              <a:gd name="T23" fmla="*/ 0 h 244"/>
              <a:gd name="T24" fmla="*/ 256 w 394"/>
              <a:gd name="T25" fmla="*/ 101 h 244"/>
              <a:gd name="T26" fmla="*/ 378 w 394"/>
              <a:gd name="T27" fmla="*/ 101 h 244"/>
              <a:gd name="T28" fmla="*/ 358 w 394"/>
              <a:gd name="T29" fmla="*/ 0 h 244"/>
              <a:gd name="T30" fmla="*/ 340 w 394"/>
              <a:gd name="T31" fmla="*/ 0 h 244"/>
              <a:gd name="T32" fmla="*/ 324 w 394"/>
              <a:gd name="T33" fmla="*/ 101 h 244"/>
              <a:gd name="T34" fmla="*/ 57 w 394"/>
              <a:gd name="T35" fmla="*/ 144 h 244"/>
              <a:gd name="T36" fmla="*/ 36 w 394"/>
              <a:gd name="T37" fmla="*/ 144 h 244"/>
              <a:gd name="T38" fmla="*/ 36 w 394"/>
              <a:gd name="T39" fmla="*/ 165 h 244"/>
              <a:gd name="T40" fmla="*/ 57 w 394"/>
              <a:gd name="T41" fmla="*/ 165 h 244"/>
              <a:gd name="T42" fmla="*/ 57 w 394"/>
              <a:gd name="T43" fmla="*/ 144 h 244"/>
              <a:gd name="T44" fmla="*/ 131 w 394"/>
              <a:gd name="T45" fmla="*/ 144 h 244"/>
              <a:gd name="T46" fmla="*/ 112 w 394"/>
              <a:gd name="T47" fmla="*/ 144 h 244"/>
              <a:gd name="T48" fmla="*/ 112 w 394"/>
              <a:gd name="T49" fmla="*/ 165 h 244"/>
              <a:gd name="T50" fmla="*/ 131 w 394"/>
              <a:gd name="T51" fmla="*/ 165 h 244"/>
              <a:gd name="T52" fmla="*/ 131 w 394"/>
              <a:gd name="T53" fmla="*/ 144 h 244"/>
              <a:gd name="T54" fmla="*/ 207 w 394"/>
              <a:gd name="T55" fmla="*/ 144 h 244"/>
              <a:gd name="T56" fmla="*/ 188 w 394"/>
              <a:gd name="T57" fmla="*/ 144 h 244"/>
              <a:gd name="T58" fmla="*/ 188 w 394"/>
              <a:gd name="T59" fmla="*/ 165 h 244"/>
              <a:gd name="T60" fmla="*/ 207 w 394"/>
              <a:gd name="T61" fmla="*/ 165 h 244"/>
              <a:gd name="T62" fmla="*/ 207 w 394"/>
              <a:gd name="T63" fmla="*/ 144 h 244"/>
              <a:gd name="T64" fmla="*/ 283 w 394"/>
              <a:gd name="T65" fmla="*/ 144 h 244"/>
              <a:gd name="T66" fmla="*/ 262 w 394"/>
              <a:gd name="T67" fmla="*/ 144 h 244"/>
              <a:gd name="T68" fmla="*/ 262 w 394"/>
              <a:gd name="T69" fmla="*/ 165 h 244"/>
              <a:gd name="T70" fmla="*/ 283 w 394"/>
              <a:gd name="T71" fmla="*/ 165 h 244"/>
              <a:gd name="T72" fmla="*/ 283 w 394"/>
              <a:gd name="T73" fmla="*/ 144 h 244"/>
              <a:gd name="T74" fmla="*/ 358 w 394"/>
              <a:gd name="T75" fmla="*/ 144 h 244"/>
              <a:gd name="T76" fmla="*/ 338 w 394"/>
              <a:gd name="T77" fmla="*/ 144 h 244"/>
              <a:gd name="T78" fmla="*/ 338 w 394"/>
              <a:gd name="T79" fmla="*/ 165 h 244"/>
              <a:gd name="T80" fmla="*/ 358 w 394"/>
              <a:gd name="T81" fmla="*/ 165 h 244"/>
              <a:gd name="T82" fmla="*/ 358 w 394"/>
              <a:gd name="T83" fmla="*/ 144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94" h="244">
                <a:moveTo>
                  <a:pt x="394" y="101"/>
                </a:moveTo>
                <a:lnTo>
                  <a:pt x="394" y="244"/>
                </a:lnTo>
                <a:lnTo>
                  <a:pt x="0" y="244"/>
                </a:lnTo>
                <a:lnTo>
                  <a:pt x="0" y="101"/>
                </a:lnTo>
                <a:lnTo>
                  <a:pt x="76" y="45"/>
                </a:lnTo>
                <a:lnTo>
                  <a:pt x="76" y="101"/>
                </a:lnTo>
                <a:lnTo>
                  <a:pt x="160" y="45"/>
                </a:lnTo>
                <a:lnTo>
                  <a:pt x="160" y="101"/>
                </a:lnTo>
                <a:lnTo>
                  <a:pt x="394" y="101"/>
                </a:lnTo>
                <a:moveTo>
                  <a:pt x="309" y="101"/>
                </a:moveTo>
                <a:lnTo>
                  <a:pt x="289" y="0"/>
                </a:lnTo>
                <a:lnTo>
                  <a:pt x="273" y="0"/>
                </a:lnTo>
                <a:lnTo>
                  <a:pt x="256" y="101"/>
                </a:lnTo>
                <a:moveTo>
                  <a:pt x="378" y="101"/>
                </a:moveTo>
                <a:lnTo>
                  <a:pt x="358" y="0"/>
                </a:lnTo>
                <a:lnTo>
                  <a:pt x="340" y="0"/>
                </a:lnTo>
                <a:lnTo>
                  <a:pt x="324" y="101"/>
                </a:lnTo>
                <a:moveTo>
                  <a:pt x="57" y="144"/>
                </a:moveTo>
                <a:lnTo>
                  <a:pt x="36" y="144"/>
                </a:lnTo>
                <a:lnTo>
                  <a:pt x="36" y="165"/>
                </a:lnTo>
                <a:lnTo>
                  <a:pt x="57" y="165"/>
                </a:lnTo>
                <a:lnTo>
                  <a:pt x="57" y="144"/>
                </a:lnTo>
                <a:moveTo>
                  <a:pt x="131" y="144"/>
                </a:moveTo>
                <a:lnTo>
                  <a:pt x="112" y="144"/>
                </a:lnTo>
                <a:lnTo>
                  <a:pt x="112" y="165"/>
                </a:lnTo>
                <a:lnTo>
                  <a:pt x="131" y="165"/>
                </a:lnTo>
                <a:lnTo>
                  <a:pt x="131" y="144"/>
                </a:lnTo>
                <a:moveTo>
                  <a:pt x="207" y="144"/>
                </a:moveTo>
                <a:lnTo>
                  <a:pt x="188" y="144"/>
                </a:lnTo>
                <a:lnTo>
                  <a:pt x="188" y="165"/>
                </a:lnTo>
                <a:lnTo>
                  <a:pt x="207" y="165"/>
                </a:lnTo>
                <a:lnTo>
                  <a:pt x="207" y="144"/>
                </a:lnTo>
                <a:moveTo>
                  <a:pt x="283" y="144"/>
                </a:moveTo>
                <a:lnTo>
                  <a:pt x="262" y="144"/>
                </a:lnTo>
                <a:lnTo>
                  <a:pt x="262" y="165"/>
                </a:lnTo>
                <a:lnTo>
                  <a:pt x="283" y="165"/>
                </a:lnTo>
                <a:lnTo>
                  <a:pt x="283" y="144"/>
                </a:lnTo>
                <a:moveTo>
                  <a:pt x="358" y="144"/>
                </a:moveTo>
                <a:lnTo>
                  <a:pt x="338" y="144"/>
                </a:lnTo>
                <a:lnTo>
                  <a:pt x="338" y="165"/>
                </a:lnTo>
                <a:lnTo>
                  <a:pt x="358" y="165"/>
                </a:lnTo>
                <a:lnTo>
                  <a:pt x="358" y="144"/>
                </a:lnTo>
              </a:path>
            </a:pathLst>
          </a:custGeom>
          <a:noFill/>
          <a:ln w="15875" cap="sq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rtlCol="1" anchor="t" anchorCtr="0" compatLnSpc="1">
            <a:prstTxWarp prst="textNoShape">
              <a:avLst/>
            </a:prstTxWarp>
          </a:bodyPr>
          <a:lstStyle/>
          <a:p>
            <a:pPr algn="r" defTabSz="914192" rtl="1">
              <a:defRPr/>
            </a:pPr>
            <a:endParaRPr lang="en-US" sz="120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"/>
            </a:endParaRPr>
          </a:p>
        </p:txBody>
      </p:sp>
      <p:grpSp>
        <p:nvGrpSpPr>
          <p:cNvPr id="40" name="Group 39" hidden="1">
            <a:extLst>
              <a:ext uri="{FF2B5EF4-FFF2-40B4-BE49-F238E27FC236}">
                <a16:creationId xmlns:a16="http://schemas.microsoft.com/office/drawing/2014/main" xmlns="" id="{D4F80222-8745-4587-B8A5-A35CB52F9A61}"/>
              </a:ext>
            </a:extLst>
          </p:cNvPr>
          <p:cNvGrpSpPr/>
          <p:nvPr/>
        </p:nvGrpSpPr>
        <p:grpSpPr>
          <a:xfrm>
            <a:off x="3054338" y="3760004"/>
            <a:ext cx="396243" cy="458067"/>
            <a:chOff x="2924028" y="5536385"/>
            <a:chExt cx="554846" cy="616619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E3175387-9995-4368-A7BE-A069CEED7BDD}"/>
                </a:ext>
              </a:extLst>
            </p:cNvPr>
            <p:cNvSpPr/>
            <p:nvPr/>
          </p:nvSpPr>
          <p:spPr>
            <a:xfrm>
              <a:off x="2924955" y="5536385"/>
              <a:ext cx="553919" cy="312541"/>
            </a:xfrm>
            <a:custGeom>
              <a:avLst/>
              <a:gdLst>
                <a:gd name="connsiteX0" fmla="*/ 52815 w 278466"/>
                <a:gd name="connsiteY0" fmla="*/ 107833 h 157123"/>
                <a:gd name="connsiteX1" fmla="*/ 108042 w 278466"/>
                <a:gd name="connsiteY1" fmla="*/ 139569 h 157123"/>
                <a:gd name="connsiteX2" fmla="*/ 139156 w 278466"/>
                <a:gd name="connsiteY2" fmla="*/ 156526 h 157123"/>
                <a:gd name="connsiteX3" fmla="*/ 171203 w 278466"/>
                <a:gd name="connsiteY3" fmla="*/ 139413 h 157123"/>
                <a:gd name="connsiteX4" fmla="*/ 217406 w 278466"/>
                <a:gd name="connsiteY4" fmla="*/ 113278 h 157123"/>
                <a:gd name="connsiteX5" fmla="*/ 271699 w 278466"/>
                <a:gd name="connsiteY5" fmla="*/ 82009 h 157123"/>
                <a:gd name="connsiteX6" fmla="*/ 277922 w 278466"/>
                <a:gd name="connsiteY6" fmla="*/ 79519 h 157123"/>
                <a:gd name="connsiteX7" fmla="*/ 275122 w 278466"/>
                <a:gd name="connsiteY7" fmla="*/ 77186 h 157123"/>
                <a:gd name="connsiteX8" fmla="*/ 196560 w 278466"/>
                <a:gd name="connsiteY8" fmla="*/ 32382 h 157123"/>
                <a:gd name="connsiteX9" fmla="*/ 144289 w 278466"/>
                <a:gd name="connsiteY9" fmla="*/ 2825 h 157123"/>
                <a:gd name="connsiteX10" fmla="*/ 134489 w 278466"/>
                <a:gd name="connsiteY10" fmla="*/ 2669 h 157123"/>
                <a:gd name="connsiteX11" fmla="*/ 71483 w 278466"/>
                <a:gd name="connsiteY11" fmla="*/ 38605 h 157123"/>
                <a:gd name="connsiteX12" fmla="*/ 5056 w 278466"/>
                <a:gd name="connsiteY12" fmla="*/ 76097 h 157123"/>
                <a:gd name="connsiteX13" fmla="*/ 1167 w 278466"/>
                <a:gd name="connsiteY13" fmla="*/ 79364 h 157123"/>
                <a:gd name="connsiteX14" fmla="*/ 21546 w 278466"/>
                <a:gd name="connsiteY14" fmla="*/ 90098 h 157123"/>
                <a:gd name="connsiteX15" fmla="*/ 33680 w 278466"/>
                <a:gd name="connsiteY15" fmla="*/ 96787 h 157123"/>
                <a:gd name="connsiteX16" fmla="*/ 52815 w 278466"/>
                <a:gd name="connsiteY16" fmla="*/ 107833 h 157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8466" h="157123">
                  <a:moveTo>
                    <a:pt x="52815" y="107833"/>
                  </a:moveTo>
                  <a:cubicBezTo>
                    <a:pt x="70550" y="119500"/>
                    <a:pt x="89529" y="129146"/>
                    <a:pt x="108042" y="139569"/>
                  </a:cubicBezTo>
                  <a:cubicBezTo>
                    <a:pt x="118309" y="145325"/>
                    <a:pt x="128266" y="151703"/>
                    <a:pt x="139156" y="156526"/>
                  </a:cubicBezTo>
                  <a:cubicBezTo>
                    <a:pt x="150356" y="151859"/>
                    <a:pt x="160468" y="145169"/>
                    <a:pt x="171203" y="139413"/>
                  </a:cubicBezTo>
                  <a:cubicBezTo>
                    <a:pt x="186759" y="131012"/>
                    <a:pt x="202472" y="122767"/>
                    <a:pt x="217406" y="113278"/>
                  </a:cubicBezTo>
                  <a:cubicBezTo>
                    <a:pt x="235141" y="102077"/>
                    <a:pt x="253809" y="92898"/>
                    <a:pt x="271699" y="82009"/>
                  </a:cubicBezTo>
                  <a:cubicBezTo>
                    <a:pt x="273566" y="80764"/>
                    <a:pt x="275589" y="79364"/>
                    <a:pt x="277922" y="79519"/>
                  </a:cubicBezTo>
                  <a:cubicBezTo>
                    <a:pt x="277767" y="77808"/>
                    <a:pt x="276211" y="77653"/>
                    <a:pt x="275122" y="77186"/>
                  </a:cubicBezTo>
                  <a:cubicBezTo>
                    <a:pt x="249142" y="61940"/>
                    <a:pt x="222229" y="48250"/>
                    <a:pt x="196560" y="32382"/>
                  </a:cubicBezTo>
                  <a:cubicBezTo>
                    <a:pt x="179603" y="21804"/>
                    <a:pt x="161713" y="12781"/>
                    <a:pt x="144289" y="2825"/>
                  </a:cubicBezTo>
                  <a:cubicBezTo>
                    <a:pt x="140867" y="802"/>
                    <a:pt x="138067" y="491"/>
                    <a:pt x="134489" y="2669"/>
                  </a:cubicBezTo>
                  <a:cubicBezTo>
                    <a:pt x="113642" y="14803"/>
                    <a:pt x="92330" y="26004"/>
                    <a:pt x="71483" y="38605"/>
                  </a:cubicBezTo>
                  <a:cubicBezTo>
                    <a:pt x="49704" y="51828"/>
                    <a:pt x="27147" y="63652"/>
                    <a:pt x="5056" y="76097"/>
                  </a:cubicBezTo>
                  <a:cubicBezTo>
                    <a:pt x="3656" y="76875"/>
                    <a:pt x="1478" y="77030"/>
                    <a:pt x="1167" y="79364"/>
                  </a:cubicBezTo>
                  <a:cubicBezTo>
                    <a:pt x="8323" y="82320"/>
                    <a:pt x="14857" y="86209"/>
                    <a:pt x="21546" y="90098"/>
                  </a:cubicBezTo>
                  <a:cubicBezTo>
                    <a:pt x="25591" y="92432"/>
                    <a:pt x="29480" y="94765"/>
                    <a:pt x="33680" y="96787"/>
                  </a:cubicBezTo>
                  <a:cubicBezTo>
                    <a:pt x="40059" y="100210"/>
                    <a:pt x="46593" y="103788"/>
                    <a:pt x="52815" y="107833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round/>
            </a:ln>
          </p:spPr>
          <p:txBody>
            <a:bodyPr rtlCol="1" anchor="ctr"/>
            <a:lstStyle/>
            <a:p>
              <a:pPr algn="r" defTabSz="457112" rtl="1">
                <a:defRPr/>
              </a:pPr>
              <a:endParaRPr lang="en-IN" sz="1000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6C676566-580E-49E9-B49C-1B5411C85711}"/>
                </a:ext>
              </a:extLst>
            </p:cNvPr>
            <p:cNvSpPr/>
            <p:nvPr/>
          </p:nvSpPr>
          <p:spPr>
            <a:xfrm>
              <a:off x="2924336" y="5843249"/>
              <a:ext cx="553919" cy="210423"/>
            </a:xfrm>
            <a:custGeom>
              <a:avLst/>
              <a:gdLst>
                <a:gd name="connsiteX0" fmla="*/ 113331 w 278466"/>
                <a:gd name="connsiteY0" fmla="*/ 91241 h 105786"/>
                <a:gd name="connsiteX1" fmla="*/ 139467 w 278466"/>
                <a:gd name="connsiteY1" fmla="*/ 105864 h 105786"/>
                <a:gd name="connsiteX2" fmla="*/ 203716 w 278466"/>
                <a:gd name="connsiteY2" fmla="*/ 69928 h 105786"/>
                <a:gd name="connsiteX3" fmla="*/ 256454 w 278466"/>
                <a:gd name="connsiteY3" fmla="*/ 40525 h 105786"/>
                <a:gd name="connsiteX4" fmla="*/ 277767 w 278466"/>
                <a:gd name="connsiteY4" fmla="*/ 27769 h 105786"/>
                <a:gd name="connsiteX5" fmla="*/ 273877 w 278466"/>
                <a:gd name="connsiteY5" fmla="*/ 24969 h 105786"/>
                <a:gd name="connsiteX6" fmla="*/ 231407 w 278466"/>
                <a:gd name="connsiteY6" fmla="*/ 1167 h 105786"/>
                <a:gd name="connsiteX7" fmla="*/ 195316 w 278466"/>
                <a:gd name="connsiteY7" fmla="*/ 20924 h 105786"/>
                <a:gd name="connsiteX8" fmla="*/ 143511 w 278466"/>
                <a:gd name="connsiteY8" fmla="*/ 50948 h 105786"/>
                <a:gd name="connsiteX9" fmla="*/ 142578 w 278466"/>
                <a:gd name="connsiteY9" fmla="*/ 51415 h 105786"/>
                <a:gd name="connsiteX10" fmla="*/ 139467 w 278466"/>
                <a:gd name="connsiteY10" fmla="*/ 52504 h 105786"/>
                <a:gd name="connsiteX11" fmla="*/ 98552 w 278466"/>
                <a:gd name="connsiteY11" fmla="*/ 29169 h 105786"/>
                <a:gd name="connsiteX12" fmla="*/ 50482 w 278466"/>
                <a:gd name="connsiteY12" fmla="*/ 2256 h 105786"/>
                <a:gd name="connsiteX13" fmla="*/ 47682 w 278466"/>
                <a:gd name="connsiteY13" fmla="*/ 1322 h 105786"/>
                <a:gd name="connsiteX14" fmla="*/ 4123 w 278466"/>
                <a:gd name="connsiteY14" fmla="*/ 25746 h 105786"/>
                <a:gd name="connsiteX15" fmla="*/ 1167 w 278466"/>
                <a:gd name="connsiteY15" fmla="*/ 28080 h 105786"/>
                <a:gd name="connsiteX16" fmla="*/ 29947 w 278466"/>
                <a:gd name="connsiteY16" fmla="*/ 45037 h 105786"/>
                <a:gd name="connsiteX17" fmla="*/ 59194 w 278466"/>
                <a:gd name="connsiteY17" fmla="*/ 61216 h 105786"/>
                <a:gd name="connsiteX18" fmla="*/ 113331 w 278466"/>
                <a:gd name="connsiteY18" fmla="*/ 91241 h 105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8466" h="105786">
                  <a:moveTo>
                    <a:pt x="113331" y="91241"/>
                  </a:moveTo>
                  <a:cubicBezTo>
                    <a:pt x="122043" y="96063"/>
                    <a:pt x="130755" y="101041"/>
                    <a:pt x="139467" y="105864"/>
                  </a:cubicBezTo>
                  <a:cubicBezTo>
                    <a:pt x="160935" y="93885"/>
                    <a:pt x="182248" y="81906"/>
                    <a:pt x="203716" y="69928"/>
                  </a:cubicBezTo>
                  <a:cubicBezTo>
                    <a:pt x="221295" y="60127"/>
                    <a:pt x="238875" y="50171"/>
                    <a:pt x="256454" y="40525"/>
                  </a:cubicBezTo>
                  <a:cubicBezTo>
                    <a:pt x="263766" y="36636"/>
                    <a:pt x="270455" y="31658"/>
                    <a:pt x="277767" y="27769"/>
                  </a:cubicBezTo>
                  <a:cubicBezTo>
                    <a:pt x="276833" y="26213"/>
                    <a:pt x="275122" y="25746"/>
                    <a:pt x="273877" y="24969"/>
                  </a:cubicBezTo>
                  <a:cubicBezTo>
                    <a:pt x="259721" y="17035"/>
                    <a:pt x="245564" y="9101"/>
                    <a:pt x="231407" y="1167"/>
                  </a:cubicBezTo>
                  <a:cubicBezTo>
                    <a:pt x="218962" y="7078"/>
                    <a:pt x="207294" y="14234"/>
                    <a:pt x="195316" y="20924"/>
                  </a:cubicBezTo>
                  <a:cubicBezTo>
                    <a:pt x="177892" y="30725"/>
                    <a:pt x="160780" y="40992"/>
                    <a:pt x="143511" y="50948"/>
                  </a:cubicBezTo>
                  <a:cubicBezTo>
                    <a:pt x="143200" y="51104"/>
                    <a:pt x="142889" y="51260"/>
                    <a:pt x="142578" y="51415"/>
                  </a:cubicBezTo>
                  <a:cubicBezTo>
                    <a:pt x="141645" y="51882"/>
                    <a:pt x="140556" y="52037"/>
                    <a:pt x="139467" y="52504"/>
                  </a:cubicBezTo>
                  <a:cubicBezTo>
                    <a:pt x="125621" y="45037"/>
                    <a:pt x="111931" y="37414"/>
                    <a:pt x="98552" y="29169"/>
                  </a:cubicBezTo>
                  <a:cubicBezTo>
                    <a:pt x="82996" y="19524"/>
                    <a:pt x="66661" y="11123"/>
                    <a:pt x="50482" y="2256"/>
                  </a:cubicBezTo>
                  <a:cubicBezTo>
                    <a:pt x="49704" y="1789"/>
                    <a:pt x="48615" y="1633"/>
                    <a:pt x="47682" y="1322"/>
                  </a:cubicBezTo>
                  <a:cubicBezTo>
                    <a:pt x="33214" y="9412"/>
                    <a:pt x="18590" y="17501"/>
                    <a:pt x="4123" y="25746"/>
                  </a:cubicBezTo>
                  <a:cubicBezTo>
                    <a:pt x="3034" y="26369"/>
                    <a:pt x="1633" y="26524"/>
                    <a:pt x="1167" y="28080"/>
                  </a:cubicBezTo>
                  <a:cubicBezTo>
                    <a:pt x="10656" y="33992"/>
                    <a:pt x="20302" y="39592"/>
                    <a:pt x="29947" y="45037"/>
                  </a:cubicBezTo>
                  <a:cubicBezTo>
                    <a:pt x="39592" y="50482"/>
                    <a:pt x="49393" y="55771"/>
                    <a:pt x="59194" y="61216"/>
                  </a:cubicBezTo>
                  <a:cubicBezTo>
                    <a:pt x="77395" y="71017"/>
                    <a:pt x="95285" y="81129"/>
                    <a:pt x="113331" y="91241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round/>
            </a:ln>
          </p:spPr>
          <p:txBody>
            <a:bodyPr rtlCol="1" anchor="ctr"/>
            <a:lstStyle/>
            <a:p>
              <a:pPr algn="r" defTabSz="457112" rtl="1">
                <a:defRPr/>
              </a:pPr>
              <a:endParaRPr lang="en-IN" sz="1000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709B1F0A-8A49-4090-9BAC-739EA62A2B96}"/>
                </a:ext>
              </a:extLst>
            </p:cNvPr>
            <p:cNvSpPr/>
            <p:nvPr/>
          </p:nvSpPr>
          <p:spPr>
            <a:xfrm>
              <a:off x="3199749" y="5896164"/>
              <a:ext cx="278506" cy="256840"/>
            </a:xfrm>
            <a:custGeom>
              <a:avLst/>
              <a:gdLst>
                <a:gd name="connsiteX0" fmla="*/ 139933 w 140011"/>
                <a:gd name="connsiteY0" fmla="*/ 26680 h 129121"/>
                <a:gd name="connsiteX1" fmla="*/ 139467 w 140011"/>
                <a:gd name="connsiteY1" fmla="*/ 1167 h 129121"/>
                <a:gd name="connsiteX2" fmla="*/ 118154 w 140011"/>
                <a:gd name="connsiteY2" fmla="*/ 13923 h 129121"/>
                <a:gd name="connsiteX3" fmla="*/ 65416 w 140011"/>
                <a:gd name="connsiteY3" fmla="*/ 43326 h 129121"/>
                <a:gd name="connsiteX4" fmla="*/ 1167 w 140011"/>
                <a:gd name="connsiteY4" fmla="*/ 79262 h 129121"/>
                <a:gd name="connsiteX5" fmla="*/ 1167 w 140011"/>
                <a:gd name="connsiteY5" fmla="*/ 129044 h 129121"/>
                <a:gd name="connsiteX6" fmla="*/ 5989 w 140011"/>
                <a:gd name="connsiteY6" fmla="*/ 127021 h 129121"/>
                <a:gd name="connsiteX7" fmla="*/ 96374 w 140011"/>
                <a:gd name="connsiteY7" fmla="*/ 75684 h 129121"/>
                <a:gd name="connsiteX8" fmla="*/ 136666 w 140011"/>
                <a:gd name="connsiteY8" fmla="*/ 53126 h 129121"/>
                <a:gd name="connsiteX9" fmla="*/ 140245 w 140011"/>
                <a:gd name="connsiteY9" fmla="*/ 47059 h 129121"/>
                <a:gd name="connsiteX10" fmla="*/ 139933 w 140011"/>
                <a:gd name="connsiteY10" fmla="*/ 26680 h 12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0011" h="129121">
                  <a:moveTo>
                    <a:pt x="139933" y="26680"/>
                  </a:moveTo>
                  <a:cubicBezTo>
                    <a:pt x="139778" y="18124"/>
                    <a:pt x="140711" y="9723"/>
                    <a:pt x="139467" y="1167"/>
                  </a:cubicBezTo>
                  <a:cubicBezTo>
                    <a:pt x="132155" y="5056"/>
                    <a:pt x="125466" y="10034"/>
                    <a:pt x="118154" y="13923"/>
                  </a:cubicBezTo>
                  <a:cubicBezTo>
                    <a:pt x="100419" y="23569"/>
                    <a:pt x="82996" y="33525"/>
                    <a:pt x="65416" y="43326"/>
                  </a:cubicBezTo>
                  <a:cubicBezTo>
                    <a:pt x="43948" y="55304"/>
                    <a:pt x="22635" y="67283"/>
                    <a:pt x="1167" y="79262"/>
                  </a:cubicBezTo>
                  <a:cubicBezTo>
                    <a:pt x="1167" y="95908"/>
                    <a:pt x="1167" y="112398"/>
                    <a:pt x="1167" y="129044"/>
                  </a:cubicBezTo>
                  <a:cubicBezTo>
                    <a:pt x="3189" y="129199"/>
                    <a:pt x="4434" y="127799"/>
                    <a:pt x="5989" y="127021"/>
                  </a:cubicBezTo>
                  <a:cubicBezTo>
                    <a:pt x="36014" y="109753"/>
                    <a:pt x="66816" y="93885"/>
                    <a:pt x="96374" y="75684"/>
                  </a:cubicBezTo>
                  <a:cubicBezTo>
                    <a:pt x="109442" y="67594"/>
                    <a:pt x="123132" y="60438"/>
                    <a:pt x="136666" y="53126"/>
                  </a:cubicBezTo>
                  <a:cubicBezTo>
                    <a:pt x="139311" y="51726"/>
                    <a:pt x="140400" y="50015"/>
                    <a:pt x="140245" y="47059"/>
                  </a:cubicBezTo>
                  <a:cubicBezTo>
                    <a:pt x="139933" y="40059"/>
                    <a:pt x="140089" y="33369"/>
                    <a:pt x="139933" y="26680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round/>
            </a:ln>
          </p:spPr>
          <p:txBody>
            <a:bodyPr rtlCol="1" anchor="ctr"/>
            <a:lstStyle/>
            <a:p>
              <a:pPr algn="r" defTabSz="457112" rtl="1">
                <a:defRPr/>
              </a:pPr>
              <a:endParaRPr lang="en-IN" sz="1000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B61A2061-1144-4C43-AA4C-77C618B3CB91}"/>
                </a:ext>
              </a:extLst>
            </p:cNvPr>
            <p:cNvSpPr/>
            <p:nvPr/>
          </p:nvSpPr>
          <p:spPr>
            <a:xfrm>
              <a:off x="3199131" y="5691930"/>
              <a:ext cx="278506" cy="256840"/>
            </a:xfrm>
            <a:custGeom>
              <a:avLst/>
              <a:gdLst>
                <a:gd name="connsiteX0" fmla="*/ 79417 w 140011"/>
                <a:gd name="connsiteY0" fmla="*/ 35081 h 129121"/>
                <a:gd name="connsiteX1" fmla="*/ 33214 w 140011"/>
                <a:gd name="connsiteY1" fmla="*/ 61216 h 129121"/>
                <a:gd name="connsiteX2" fmla="*/ 1167 w 140011"/>
                <a:gd name="connsiteY2" fmla="*/ 78328 h 129121"/>
                <a:gd name="connsiteX3" fmla="*/ 1167 w 140011"/>
                <a:gd name="connsiteY3" fmla="*/ 128577 h 129121"/>
                <a:gd name="connsiteX4" fmla="*/ 4278 w 140011"/>
                <a:gd name="connsiteY4" fmla="*/ 127488 h 129121"/>
                <a:gd name="connsiteX5" fmla="*/ 5212 w 140011"/>
                <a:gd name="connsiteY5" fmla="*/ 127021 h 129121"/>
                <a:gd name="connsiteX6" fmla="*/ 57016 w 140011"/>
                <a:gd name="connsiteY6" fmla="*/ 96997 h 129121"/>
                <a:gd name="connsiteX7" fmla="*/ 93107 w 140011"/>
                <a:gd name="connsiteY7" fmla="*/ 77239 h 129121"/>
                <a:gd name="connsiteX8" fmla="*/ 95752 w 140011"/>
                <a:gd name="connsiteY8" fmla="*/ 75373 h 129121"/>
                <a:gd name="connsiteX9" fmla="*/ 136355 w 140011"/>
                <a:gd name="connsiteY9" fmla="*/ 52504 h 129121"/>
                <a:gd name="connsiteX10" fmla="*/ 140089 w 140011"/>
                <a:gd name="connsiteY10" fmla="*/ 47993 h 129121"/>
                <a:gd name="connsiteX11" fmla="*/ 139778 w 140011"/>
                <a:gd name="connsiteY11" fmla="*/ 1167 h 129121"/>
                <a:gd name="connsiteX12" fmla="*/ 133555 w 140011"/>
                <a:gd name="connsiteY12" fmla="*/ 3656 h 129121"/>
                <a:gd name="connsiteX13" fmla="*/ 79417 w 140011"/>
                <a:gd name="connsiteY13" fmla="*/ 35081 h 12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011" h="129121">
                  <a:moveTo>
                    <a:pt x="79417" y="35081"/>
                  </a:moveTo>
                  <a:cubicBezTo>
                    <a:pt x="64483" y="44570"/>
                    <a:pt x="48771" y="52815"/>
                    <a:pt x="33214" y="61216"/>
                  </a:cubicBezTo>
                  <a:cubicBezTo>
                    <a:pt x="22635" y="66972"/>
                    <a:pt x="12368" y="73661"/>
                    <a:pt x="1167" y="78328"/>
                  </a:cubicBezTo>
                  <a:cubicBezTo>
                    <a:pt x="1167" y="95130"/>
                    <a:pt x="1167" y="111775"/>
                    <a:pt x="1167" y="128577"/>
                  </a:cubicBezTo>
                  <a:cubicBezTo>
                    <a:pt x="2256" y="128266"/>
                    <a:pt x="3345" y="127955"/>
                    <a:pt x="4278" y="127488"/>
                  </a:cubicBezTo>
                  <a:cubicBezTo>
                    <a:pt x="4589" y="127332"/>
                    <a:pt x="4900" y="127177"/>
                    <a:pt x="5212" y="127021"/>
                  </a:cubicBezTo>
                  <a:cubicBezTo>
                    <a:pt x="22480" y="117065"/>
                    <a:pt x="39592" y="106797"/>
                    <a:pt x="57016" y="96997"/>
                  </a:cubicBezTo>
                  <a:cubicBezTo>
                    <a:pt x="68994" y="90307"/>
                    <a:pt x="80662" y="82995"/>
                    <a:pt x="93107" y="77239"/>
                  </a:cubicBezTo>
                  <a:cubicBezTo>
                    <a:pt x="94041" y="76617"/>
                    <a:pt x="94819" y="75839"/>
                    <a:pt x="95752" y="75373"/>
                  </a:cubicBezTo>
                  <a:cubicBezTo>
                    <a:pt x="109287" y="67750"/>
                    <a:pt x="122821" y="60127"/>
                    <a:pt x="136355" y="52504"/>
                  </a:cubicBezTo>
                  <a:cubicBezTo>
                    <a:pt x="138222" y="51571"/>
                    <a:pt x="140089" y="50948"/>
                    <a:pt x="140089" y="47993"/>
                  </a:cubicBezTo>
                  <a:cubicBezTo>
                    <a:pt x="139933" y="32436"/>
                    <a:pt x="139933" y="16879"/>
                    <a:pt x="139778" y="1167"/>
                  </a:cubicBezTo>
                  <a:cubicBezTo>
                    <a:pt x="137289" y="1167"/>
                    <a:pt x="135422" y="2567"/>
                    <a:pt x="133555" y="3656"/>
                  </a:cubicBezTo>
                  <a:cubicBezTo>
                    <a:pt x="115976" y="14546"/>
                    <a:pt x="97152" y="23880"/>
                    <a:pt x="79417" y="35081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round/>
            </a:ln>
          </p:spPr>
          <p:txBody>
            <a:bodyPr rtlCol="1" anchor="ctr"/>
            <a:lstStyle/>
            <a:p>
              <a:pPr algn="r" defTabSz="457112" rtl="1">
                <a:defRPr/>
              </a:pPr>
              <a:endParaRPr lang="en-IN" sz="1000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E19E3A01-1540-4136-8BBF-E516B9DF148D}"/>
                </a:ext>
              </a:extLst>
            </p:cNvPr>
            <p:cNvSpPr/>
            <p:nvPr/>
          </p:nvSpPr>
          <p:spPr>
            <a:xfrm>
              <a:off x="2924028" y="5896164"/>
              <a:ext cx="278506" cy="256840"/>
            </a:xfrm>
            <a:custGeom>
              <a:avLst/>
              <a:gdLst>
                <a:gd name="connsiteX0" fmla="*/ 113487 w 140011"/>
                <a:gd name="connsiteY0" fmla="*/ 64638 h 129121"/>
                <a:gd name="connsiteX1" fmla="*/ 59505 w 140011"/>
                <a:gd name="connsiteY1" fmla="*/ 34303 h 129121"/>
                <a:gd name="connsiteX2" fmla="*/ 30258 w 140011"/>
                <a:gd name="connsiteY2" fmla="*/ 18124 h 129121"/>
                <a:gd name="connsiteX3" fmla="*/ 1478 w 140011"/>
                <a:gd name="connsiteY3" fmla="*/ 1167 h 129121"/>
                <a:gd name="connsiteX4" fmla="*/ 1167 w 140011"/>
                <a:gd name="connsiteY4" fmla="*/ 47993 h 129121"/>
                <a:gd name="connsiteX5" fmla="*/ 4123 w 140011"/>
                <a:gd name="connsiteY5" fmla="*/ 52504 h 129121"/>
                <a:gd name="connsiteX6" fmla="*/ 56082 w 140011"/>
                <a:gd name="connsiteY6" fmla="*/ 82218 h 129121"/>
                <a:gd name="connsiteX7" fmla="*/ 117843 w 140011"/>
                <a:gd name="connsiteY7" fmla="*/ 117065 h 129121"/>
                <a:gd name="connsiteX8" fmla="*/ 139467 w 140011"/>
                <a:gd name="connsiteY8" fmla="*/ 128888 h 129121"/>
                <a:gd name="connsiteX9" fmla="*/ 139467 w 140011"/>
                <a:gd name="connsiteY9" fmla="*/ 79106 h 129121"/>
                <a:gd name="connsiteX10" fmla="*/ 113487 w 140011"/>
                <a:gd name="connsiteY10" fmla="*/ 64638 h 12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0011" h="129121">
                  <a:moveTo>
                    <a:pt x="113487" y="64638"/>
                  </a:moveTo>
                  <a:cubicBezTo>
                    <a:pt x="95441" y="54527"/>
                    <a:pt x="77551" y="44415"/>
                    <a:pt x="59505" y="34303"/>
                  </a:cubicBezTo>
                  <a:cubicBezTo>
                    <a:pt x="49860" y="28858"/>
                    <a:pt x="40059" y="23569"/>
                    <a:pt x="30258" y="18124"/>
                  </a:cubicBezTo>
                  <a:cubicBezTo>
                    <a:pt x="20613" y="12679"/>
                    <a:pt x="10968" y="7078"/>
                    <a:pt x="1478" y="1167"/>
                  </a:cubicBezTo>
                  <a:cubicBezTo>
                    <a:pt x="1478" y="16724"/>
                    <a:pt x="1478" y="32436"/>
                    <a:pt x="1167" y="47993"/>
                  </a:cubicBezTo>
                  <a:cubicBezTo>
                    <a:pt x="1167" y="50482"/>
                    <a:pt x="2256" y="51415"/>
                    <a:pt x="4123" y="52504"/>
                  </a:cubicBezTo>
                  <a:cubicBezTo>
                    <a:pt x="21391" y="62616"/>
                    <a:pt x="38970" y="71795"/>
                    <a:pt x="56082" y="82218"/>
                  </a:cubicBezTo>
                  <a:cubicBezTo>
                    <a:pt x="76306" y="94507"/>
                    <a:pt x="97308" y="105553"/>
                    <a:pt x="117843" y="117065"/>
                  </a:cubicBezTo>
                  <a:cubicBezTo>
                    <a:pt x="124999" y="121110"/>
                    <a:pt x="132311" y="124843"/>
                    <a:pt x="139467" y="128888"/>
                  </a:cubicBezTo>
                  <a:cubicBezTo>
                    <a:pt x="139467" y="112242"/>
                    <a:pt x="139467" y="95752"/>
                    <a:pt x="139467" y="79106"/>
                  </a:cubicBezTo>
                  <a:cubicBezTo>
                    <a:pt x="130910" y="74439"/>
                    <a:pt x="122199" y="69617"/>
                    <a:pt x="113487" y="64638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round/>
            </a:ln>
          </p:spPr>
          <p:txBody>
            <a:bodyPr rtlCol="1" anchor="ctr"/>
            <a:lstStyle/>
            <a:p>
              <a:pPr algn="r" defTabSz="457112" rtl="1">
                <a:defRPr/>
              </a:pPr>
              <a:endParaRPr lang="en-IN" sz="1000" kern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64A6DE2D-CAB6-4BF7-B291-C4B2B4AA82C9}"/>
                </a:ext>
              </a:extLst>
            </p:cNvPr>
            <p:cNvSpPr/>
            <p:nvPr/>
          </p:nvSpPr>
          <p:spPr>
            <a:xfrm>
              <a:off x="2924028" y="5692240"/>
              <a:ext cx="278506" cy="256840"/>
            </a:xfrm>
            <a:custGeom>
              <a:avLst/>
              <a:gdLst>
                <a:gd name="connsiteX0" fmla="*/ 98708 w 140011"/>
                <a:gd name="connsiteY0" fmla="*/ 105086 h 129121"/>
                <a:gd name="connsiteX1" fmla="*/ 139622 w 140011"/>
                <a:gd name="connsiteY1" fmla="*/ 128421 h 129121"/>
                <a:gd name="connsiteX2" fmla="*/ 139622 w 140011"/>
                <a:gd name="connsiteY2" fmla="*/ 78173 h 129121"/>
                <a:gd name="connsiteX3" fmla="*/ 108509 w 140011"/>
                <a:gd name="connsiteY3" fmla="*/ 61216 h 129121"/>
                <a:gd name="connsiteX4" fmla="*/ 53126 w 140011"/>
                <a:gd name="connsiteY4" fmla="*/ 29480 h 129121"/>
                <a:gd name="connsiteX5" fmla="*/ 33836 w 140011"/>
                <a:gd name="connsiteY5" fmla="*/ 18590 h 129121"/>
                <a:gd name="connsiteX6" fmla="*/ 21702 w 140011"/>
                <a:gd name="connsiteY6" fmla="*/ 11901 h 129121"/>
                <a:gd name="connsiteX7" fmla="*/ 1322 w 140011"/>
                <a:gd name="connsiteY7" fmla="*/ 1167 h 129121"/>
                <a:gd name="connsiteX8" fmla="*/ 1167 w 140011"/>
                <a:gd name="connsiteY8" fmla="*/ 46593 h 129121"/>
                <a:gd name="connsiteX9" fmla="*/ 4900 w 140011"/>
                <a:gd name="connsiteY9" fmla="*/ 52660 h 129121"/>
                <a:gd name="connsiteX10" fmla="*/ 36325 w 140011"/>
                <a:gd name="connsiteY10" fmla="*/ 70239 h 129121"/>
                <a:gd name="connsiteX11" fmla="*/ 47993 w 140011"/>
                <a:gd name="connsiteY11" fmla="*/ 77395 h 129121"/>
                <a:gd name="connsiteX12" fmla="*/ 50793 w 140011"/>
                <a:gd name="connsiteY12" fmla="*/ 78328 h 129121"/>
                <a:gd name="connsiteX13" fmla="*/ 98708 w 140011"/>
                <a:gd name="connsiteY13" fmla="*/ 105086 h 129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011" h="129121">
                  <a:moveTo>
                    <a:pt x="98708" y="105086"/>
                  </a:moveTo>
                  <a:cubicBezTo>
                    <a:pt x="112087" y="113331"/>
                    <a:pt x="125777" y="120954"/>
                    <a:pt x="139622" y="128421"/>
                  </a:cubicBezTo>
                  <a:cubicBezTo>
                    <a:pt x="139622" y="111620"/>
                    <a:pt x="139622" y="94974"/>
                    <a:pt x="139622" y="78173"/>
                  </a:cubicBezTo>
                  <a:cubicBezTo>
                    <a:pt x="128888" y="73350"/>
                    <a:pt x="118776" y="66972"/>
                    <a:pt x="108509" y="61216"/>
                  </a:cubicBezTo>
                  <a:cubicBezTo>
                    <a:pt x="89996" y="50793"/>
                    <a:pt x="71017" y="40992"/>
                    <a:pt x="53126" y="29480"/>
                  </a:cubicBezTo>
                  <a:cubicBezTo>
                    <a:pt x="46904" y="25435"/>
                    <a:pt x="40525" y="21857"/>
                    <a:pt x="33836" y="18590"/>
                  </a:cubicBezTo>
                  <a:cubicBezTo>
                    <a:pt x="29791" y="16412"/>
                    <a:pt x="25747" y="14234"/>
                    <a:pt x="21702" y="11901"/>
                  </a:cubicBezTo>
                  <a:cubicBezTo>
                    <a:pt x="15012" y="8012"/>
                    <a:pt x="8478" y="4123"/>
                    <a:pt x="1322" y="1167"/>
                  </a:cubicBezTo>
                  <a:cubicBezTo>
                    <a:pt x="1322" y="16257"/>
                    <a:pt x="1322" y="31502"/>
                    <a:pt x="1167" y="46593"/>
                  </a:cubicBezTo>
                  <a:cubicBezTo>
                    <a:pt x="1167" y="49704"/>
                    <a:pt x="2256" y="51260"/>
                    <a:pt x="4900" y="52660"/>
                  </a:cubicBezTo>
                  <a:cubicBezTo>
                    <a:pt x="15479" y="58416"/>
                    <a:pt x="25902" y="64327"/>
                    <a:pt x="36325" y="70239"/>
                  </a:cubicBezTo>
                  <a:cubicBezTo>
                    <a:pt x="40214" y="72417"/>
                    <a:pt x="44570" y="74128"/>
                    <a:pt x="47993" y="77395"/>
                  </a:cubicBezTo>
                  <a:cubicBezTo>
                    <a:pt x="48926" y="77706"/>
                    <a:pt x="49860" y="77862"/>
                    <a:pt x="50793" y="78328"/>
                  </a:cubicBezTo>
                  <a:cubicBezTo>
                    <a:pt x="66816" y="87040"/>
                    <a:pt x="83151" y="95441"/>
                    <a:pt x="98708" y="105086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round/>
            </a:ln>
          </p:spPr>
          <p:txBody>
            <a:bodyPr rtlCol="1" anchor="ctr"/>
            <a:lstStyle/>
            <a:p>
              <a:pPr algn="r" defTabSz="457112" rtl="1">
                <a:defRPr/>
              </a:pPr>
              <a:endParaRPr lang="en-IN" sz="1000" kern="0">
                <a:solidFill>
                  <a:srgbClr val="505050"/>
                </a:solidFill>
                <a:latin typeface="Segoe UI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C598F832-CBEF-4AC5-90E0-FB162A62966F}"/>
              </a:ext>
            </a:extLst>
          </p:cNvPr>
          <p:cNvSpPr/>
          <p:nvPr/>
        </p:nvSpPr>
        <p:spPr bwMode="auto">
          <a:xfrm flipH="1">
            <a:off x="3681781" y="2783859"/>
            <a:ext cx="2531441" cy="1292559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4" rIns="182854" bIns="146284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ar-SA" sz="1600" b="1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الإعداد والتدريب</a:t>
            </a:r>
          </a:p>
          <a:p>
            <a:pPr algn="ctr" defTabSz="932293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F24DA908-9D4D-40BC-9005-EFDE9FBB0534}"/>
              </a:ext>
            </a:extLst>
          </p:cNvPr>
          <p:cNvSpPr/>
          <p:nvPr/>
        </p:nvSpPr>
        <p:spPr bwMode="auto">
          <a:xfrm flipH="1">
            <a:off x="3416692" y="1167405"/>
            <a:ext cx="3109763" cy="1472526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4" rIns="182854" bIns="146284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ar-SA" sz="1600" b="1">
                <a:latin typeface="Arial" panose="020B0604020202020204" pitchFamily="34" charset="0"/>
                <a:cs typeface="Arial" panose="020B0604020202020204" pitchFamily="34" charset="0"/>
                <a:rtl/>
              </a:rPr>
              <a:t>النموذج والخدمة</a:t>
            </a:r>
          </a:p>
          <a:p>
            <a:pPr algn="ctr" defTabSz="932293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D0C6CAB1-A80F-449A-B881-F34086A86E39}"/>
              </a:ext>
            </a:extLst>
          </p:cNvPr>
          <p:cNvSpPr/>
          <p:nvPr/>
        </p:nvSpPr>
        <p:spPr bwMode="auto">
          <a:xfrm flipH="1">
            <a:off x="151665" y="1164056"/>
            <a:ext cx="3109763" cy="2907069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4" rIns="182854" bIns="146284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ar-SA" sz="1600" b="1">
                <a:latin typeface="Arial" panose="020B0604020202020204" pitchFamily="34" charset="0"/>
                <a:cs typeface="Arial" panose="020B0604020202020204" pitchFamily="34" charset="0"/>
                <a:rtl/>
              </a:rPr>
              <a:t>إظهار المرئيات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152871E5-BA93-42C0-B477-23BA279030FA}"/>
              </a:ext>
            </a:extLst>
          </p:cNvPr>
          <p:cNvSpPr/>
          <p:nvPr/>
        </p:nvSpPr>
        <p:spPr bwMode="auto">
          <a:xfrm flipH="1">
            <a:off x="6667620" y="1164056"/>
            <a:ext cx="3109763" cy="2907069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4" rIns="182854" bIns="146284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ar-SA" sz="1600" b="1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الاستيعاب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96914128-5D01-4763-9F35-1A08140D852D}"/>
              </a:ext>
            </a:extLst>
          </p:cNvPr>
          <p:cNvSpPr/>
          <p:nvPr/>
        </p:nvSpPr>
        <p:spPr bwMode="auto">
          <a:xfrm flipH="1">
            <a:off x="131448" y="4214180"/>
            <a:ext cx="9653374" cy="1667328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4" rIns="182854" bIns="146284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ar-SA" sz="1600" b="1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المتجر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D0D97FB9-1BA7-427F-A488-5A8B63C1E39D}"/>
              </a:ext>
            </a:extLst>
          </p:cNvPr>
          <p:cNvSpPr txBox="1"/>
          <p:nvPr/>
        </p:nvSpPr>
        <p:spPr>
          <a:xfrm flipH="1">
            <a:off x="10081692" y="1642434"/>
            <a:ext cx="1225309" cy="499764"/>
          </a:xfrm>
          <a:prstGeom prst="rect">
            <a:avLst/>
          </a:prstGeom>
          <a:noFill/>
        </p:spPr>
        <p:txBody>
          <a:bodyPr wrap="square" lIns="0" tIns="0" rIns="0" bIns="0" rtlCol="1" anchor="ctr" anchorCtr="0">
            <a:spAutoFit/>
          </a:bodyPr>
          <a:lstStyle/>
          <a:p>
            <a:pPr algn="r" defTabSz="914192" rtl="1">
              <a:lnSpc>
                <a:spcPct val="90000"/>
              </a:lnSpc>
              <a:defRPr/>
            </a:pPr>
            <a:r>
              <a:rPr lang="ar-SA" sz="12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الخدمات الأخرى أو تطبيقات الأعمال المخصصة (المهيكلة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3D997ECA-DF8E-4CBB-8713-B2777926BE50}"/>
              </a:ext>
            </a:extLst>
          </p:cNvPr>
          <p:cNvSpPr txBox="1"/>
          <p:nvPr/>
        </p:nvSpPr>
        <p:spPr>
          <a:xfrm flipH="1">
            <a:off x="10119514" y="2549480"/>
            <a:ext cx="1129569" cy="333176"/>
          </a:xfrm>
          <a:prstGeom prst="rect">
            <a:avLst/>
          </a:prstGeom>
          <a:noFill/>
        </p:spPr>
        <p:txBody>
          <a:bodyPr wrap="square" lIns="0" tIns="0" rIns="0" bIns="0" rtlCol="1" anchor="ctr" anchorCtr="0">
            <a:spAutoFit/>
          </a:bodyPr>
          <a:lstStyle/>
          <a:p>
            <a:pPr algn="r" defTabSz="914192" rtl="1">
              <a:lnSpc>
                <a:spcPct val="90000"/>
              </a:lnSpc>
              <a:defRPr/>
            </a:pPr>
            <a:r>
              <a:rPr lang="ar-SA" sz="12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الوسائط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  <a:rtl/>
              </a:rPr>
              <a:t/>
            </a:r>
            <a:b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  <a:rtl/>
              </a:rPr>
            </a:br>
            <a:r>
              <a:rPr lang="ar-SA" sz="1200" dirty="0" smtClean="0">
                <a:latin typeface="Arial" panose="020B0604020202020204" pitchFamily="34" charset="0"/>
                <a:cs typeface="Arial" panose="020B0604020202020204" pitchFamily="34" charset="0"/>
                <a:rtl/>
              </a:rPr>
              <a:t>(</a:t>
            </a:r>
            <a:r>
              <a:rPr lang="ar-SA" sz="12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غير المهيكلة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C2B45CB5-9776-4587-B6E3-E1185F4F9B9A}"/>
              </a:ext>
            </a:extLst>
          </p:cNvPr>
          <p:cNvSpPr txBox="1"/>
          <p:nvPr/>
        </p:nvSpPr>
        <p:spPr>
          <a:xfrm flipH="1">
            <a:off x="10222584" y="3373037"/>
            <a:ext cx="1026502" cy="333176"/>
          </a:xfrm>
          <a:prstGeom prst="rect">
            <a:avLst/>
          </a:prstGeom>
          <a:noFill/>
        </p:spPr>
        <p:txBody>
          <a:bodyPr wrap="square" lIns="0" tIns="0" rIns="0" bIns="0" rtlCol="1" anchor="ctr" anchorCtr="0">
            <a:spAutoFit/>
          </a:bodyPr>
          <a:lstStyle/>
          <a:p>
            <a:pPr algn="r" defTabSz="914192" rtl="1">
              <a:lnSpc>
                <a:spcPct val="90000"/>
              </a:lnSpc>
              <a:defRPr/>
            </a:pPr>
            <a:r>
              <a:rPr lang="ar-SA" sz="1200">
                <a:latin typeface="Arial" panose="020B0604020202020204" pitchFamily="34" charset="0"/>
                <a:cs typeface="Arial" panose="020B0604020202020204" pitchFamily="34" charset="0"/>
                <a:rtl/>
              </a:rPr>
              <a:t>السجلات والملفات (غير المنظمة)</a:t>
            </a:r>
          </a:p>
        </p:txBody>
      </p:sp>
      <p:sp>
        <p:nvSpPr>
          <p:cNvPr id="90" name="Right Bracket 89">
            <a:extLst>
              <a:ext uri="{FF2B5EF4-FFF2-40B4-BE49-F238E27FC236}">
                <a16:creationId xmlns:a16="http://schemas.microsoft.com/office/drawing/2014/main" xmlns="" id="{FD06C274-86CE-4E17-9AFB-45A986668EC3}"/>
              </a:ext>
            </a:extLst>
          </p:cNvPr>
          <p:cNvSpPr/>
          <p:nvPr/>
        </p:nvSpPr>
        <p:spPr>
          <a:xfrm flipH="1">
            <a:off x="10099672" y="1464364"/>
            <a:ext cx="66503" cy="2411190"/>
          </a:xfrm>
          <a:prstGeom prst="rightBracket">
            <a:avLst>
              <a:gd name="adj" fmla="val 0"/>
            </a:avLst>
          </a:prstGeom>
          <a:ln w="19050">
            <a:solidFill>
              <a:schemeClr val="accent1"/>
            </a:solidFill>
            <a:prstDash val="solid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 defTabSz="914192" rtl="1">
              <a:defRPr/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xmlns="" id="{E7251229-B5F7-42BD-848A-45D66CCC0AD0}"/>
              </a:ext>
            </a:extLst>
          </p:cNvPr>
          <p:cNvCxnSpPr>
            <a:cxnSpLocks/>
          </p:cNvCxnSpPr>
          <p:nvPr/>
        </p:nvCxnSpPr>
        <p:spPr>
          <a:xfrm flipH="1">
            <a:off x="9487952" y="2733074"/>
            <a:ext cx="593743" cy="0"/>
          </a:xfrm>
          <a:prstGeom prst="straightConnector1">
            <a:avLst/>
          </a:prstGeom>
          <a:ln w="19050">
            <a:solidFill>
              <a:schemeClr val="accent1"/>
            </a:solidFill>
            <a:prstDash val="solid"/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xmlns="" id="{4161BF59-39C8-48F3-B0CB-CCE3D74B22F9}"/>
              </a:ext>
            </a:extLst>
          </p:cNvPr>
          <p:cNvCxnSpPr>
            <a:cxnSpLocks/>
          </p:cNvCxnSpPr>
          <p:nvPr/>
        </p:nvCxnSpPr>
        <p:spPr>
          <a:xfrm>
            <a:off x="8142861" y="3893985"/>
            <a:ext cx="0" cy="466602"/>
          </a:xfrm>
          <a:prstGeom prst="straightConnector1">
            <a:avLst/>
          </a:prstGeom>
          <a:ln w="19050">
            <a:solidFill>
              <a:schemeClr val="accent1"/>
            </a:solidFill>
            <a:prstDash val="solid"/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xmlns="" id="{599A1DE8-BC20-4B36-8F76-07ED881F7291}"/>
              </a:ext>
            </a:extLst>
          </p:cNvPr>
          <p:cNvCxnSpPr>
            <a:cxnSpLocks/>
            <a:stCxn id="82" idx="2"/>
          </p:cNvCxnSpPr>
          <p:nvPr/>
        </p:nvCxnSpPr>
        <p:spPr>
          <a:xfrm>
            <a:off x="4898132" y="2492409"/>
            <a:ext cx="65060" cy="398909"/>
          </a:xfrm>
          <a:prstGeom prst="straightConnector1">
            <a:avLst/>
          </a:prstGeom>
          <a:ln w="19050">
            <a:solidFill>
              <a:schemeClr val="accent1"/>
            </a:solidFill>
            <a:prstDash val="solid"/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xmlns="" id="{7750F048-B3D0-407A-8D6A-6C7102B59048}"/>
              </a:ext>
            </a:extLst>
          </p:cNvPr>
          <p:cNvCxnSpPr>
            <a:cxnSpLocks/>
          </p:cNvCxnSpPr>
          <p:nvPr/>
        </p:nvCxnSpPr>
        <p:spPr>
          <a:xfrm flipH="1">
            <a:off x="9487952" y="5033389"/>
            <a:ext cx="593743" cy="0"/>
          </a:xfrm>
          <a:prstGeom prst="straightConnector1">
            <a:avLst/>
          </a:prstGeom>
          <a:ln w="19050">
            <a:solidFill>
              <a:schemeClr val="accent1"/>
            </a:solidFill>
            <a:prstDash val="solid"/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81031702-DF6F-4C93-A23D-15312E5CCD57}"/>
              </a:ext>
            </a:extLst>
          </p:cNvPr>
          <p:cNvCxnSpPr>
            <a:cxnSpLocks/>
          </p:cNvCxnSpPr>
          <p:nvPr/>
        </p:nvCxnSpPr>
        <p:spPr>
          <a:xfrm flipH="1">
            <a:off x="3041645" y="1895378"/>
            <a:ext cx="491862" cy="0"/>
          </a:xfrm>
          <a:prstGeom prst="straightConnector1">
            <a:avLst/>
          </a:prstGeom>
          <a:ln w="19050">
            <a:solidFill>
              <a:schemeClr val="accent1"/>
            </a:solidFill>
            <a:prstDash val="solid"/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xmlns="" id="{FBC18F86-8B9C-4B2E-BFF3-699351145272}"/>
              </a:ext>
            </a:extLst>
          </p:cNvPr>
          <p:cNvCxnSpPr>
            <a:cxnSpLocks/>
          </p:cNvCxnSpPr>
          <p:nvPr/>
        </p:nvCxnSpPr>
        <p:spPr>
          <a:xfrm flipH="1">
            <a:off x="4971575" y="3920455"/>
            <a:ext cx="1" cy="1004"/>
          </a:xfrm>
          <a:prstGeom prst="straightConnector1">
            <a:avLst/>
          </a:prstGeom>
          <a:ln w="19050">
            <a:solidFill>
              <a:schemeClr val="accent1"/>
            </a:solidFill>
            <a:prstDash val="solid"/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283BA9C1-D77C-ED4D-975F-693DCA1EE6D4}"/>
              </a:ext>
            </a:extLst>
          </p:cNvPr>
          <p:cNvSpPr txBox="1"/>
          <p:nvPr/>
        </p:nvSpPr>
        <p:spPr>
          <a:xfrm flipH="1">
            <a:off x="7010398" y="2933354"/>
            <a:ext cx="2329997" cy="308497"/>
          </a:xfrm>
          <a:prstGeom prst="rect">
            <a:avLst/>
          </a:prstGeom>
          <a:noFill/>
        </p:spPr>
        <p:txBody>
          <a:bodyPr wrap="square" lIns="0" tIns="0" rIns="0" bIns="0" rtlCol="1" anchor="ctr" anchorCtr="0">
            <a:spAutoFit/>
          </a:bodyPr>
          <a:lstStyle/>
          <a:p>
            <a:pPr algn="ctr" defTabSz="914192" rtl="1">
              <a:defRPr/>
            </a:pPr>
            <a:r>
              <a:rPr lang="ar-SA" sz="10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تحويل البيانات بلا تعليمات برمجية واستيعابها من أكثر من </a:t>
            </a:r>
            <a:r>
              <a:rPr lang="" sz="10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90</a:t>
            </a:r>
            <a:r>
              <a:rPr lang="ar-SA" sz="10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 موصلاً من موصلات تكامل البيانات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xmlns="" id="{9607F7A0-56B3-5B46-B0A0-B2B12E14684A}"/>
              </a:ext>
            </a:extLst>
          </p:cNvPr>
          <p:cNvSpPr txBox="1"/>
          <p:nvPr/>
        </p:nvSpPr>
        <p:spPr>
          <a:xfrm flipH="1">
            <a:off x="511573" y="2931637"/>
            <a:ext cx="2389947" cy="308481"/>
          </a:xfrm>
          <a:prstGeom prst="rect">
            <a:avLst/>
          </a:prstGeom>
          <a:noFill/>
        </p:spPr>
        <p:txBody>
          <a:bodyPr wrap="square" lIns="0" tIns="0" rIns="0" bIns="0" rtlCol="1" anchor="ctr" anchorCtr="0">
            <a:spAutoFit/>
          </a:bodyPr>
          <a:lstStyle/>
          <a:p>
            <a:pPr algn="ctr" defTabSz="914192" rtl="1">
              <a:defRPr/>
            </a:pPr>
            <a:r>
              <a:rPr lang="ar-SA" sz="1000">
                <a:latin typeface="Arial" panose="020B0604020202020204" pitchFamily="34" charset="0"/>
                <a:cs typeface="Arial" panose="020B0604020202020204" pitchFamily="34" charset="0"/>
                <a:rtl/>
              </a:rPr>
              <a:t>القائد في </a:t>
            </a:r>
            <a:r>
              <a:rPr lang="ar-SA" sz="100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Magic Quadrant</a:t>
            </a:r>
            <a:r>
              <a:rPr lang="ar-SA" sz="1000">
                <a:latin typeface="Arial" panose="020B0604020202020204" pitchFamily="34" charset="0"/>
                <a:cs typeface="Arial" panose="020B0604020202020204" pitchFamily="34" charset="0"/>
                <a:rtl/>
              </a:rPr>
              <a:t> للمعلومات المهنية والأنظمة الأساسية للتحليلات*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03508298-5B96-C440-A21A-3DE8AB8C4F7F}"/>
              </a:ext>
            </a:extLst>
          </p:cNvPr>
          <p:cNvSpPr txBox="1"/>
          <p:nvPr/>
        </p:nvSpPr>
        <p:spPr>
          <a:xfrm flipH="1">
            <a:off x="3781933" y="2183912"/>
            <a:ext cx="2232398" cy="308497"/>
          </a:xfrm>
          <a:prstGeom prst="rect">
            <a:avLst/>
          </a:prstGeom>
          <a:noFill/>
        </p:spPr>
        <p:txBody>
          <a:bodyPr wrap="square" lIns="0" tIns="0" rIns="0" bIns="0" rtlCol="1" anchor="ctr" anchorCtr="0">
            <a:spAutoFit/>
          </a:bodyPr>
          <a:lstStyle/>
          <a:p>
            <a:pPr algn="ctr" defTabSz="914192" rtl="1">
              <a:defRPr/>
            </a:pPr>
            <a:r>
              <a:rPr lang="ar-SA" sz="10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ما يصل إلى </a:t>
            </a:r>
            <a:r>
              <a:rPr lang="" sz="10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14</a:t>
            </a:r>
            <a:r>
              <a:rPr lang="ar-SA" sz="10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 مرة أسرع وتكلفة أقل بنسبة </a:t>
            </a:r>
            <a:r>
              <a:rPr lang="" sz="1000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94</a:t>
            </a:r>
            <a:r>
              <a:rPr lang="ar-SA" sz="1000" dirty="0">
                <a:latin typeface="Arial" panose="020B0604020202020204" pitchFamily="34" charset="0"/>
                <a:cs typeface="Arial" panose="020B0604020202020204" pitchFamily="34" charset="0"/>
                <a:rtl/>
              </a:rPr>
              <a:t>٪ من موفري السحابة الآخرين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9B93EB12-105B-2642-9157-9FDC967040B8}"/>
              </a:ext>
            </a:extLst>
          </p:cNvPr>
          <p:cNvSpPr txBox="1"/>
          <p:nvPr/>
        </p:nvSpPr>
        <p:spPr>
          <a:xfrm flipH="1">
            <a:off x="3533507" y="5163572"/>
            <a:ext cx="2220228" cy="308497"/>
          </a:xfrm>
          <a:prstGeom prst="rect">
            <a:avLst/>
          </a:prstGeom>
          <a:noFill/>
        </p:spPr>
        <p:txBody>
          <a:bodyPr wrap="square" lIns="0" tIns="0" rIns="0" bIns="0" rtlCol="1" anchor="ctr" anchorCtr="0">
            <a:spAutoFit/>
          </a:bodyPr>
          <a:lstStyle>
            <a:defPPr>
              <a:defRPr lang="en-US"/>
            </a:defPPr>
            <a:lvl1pPr marR="0" lvl="0" indent="0" algn="ctr" defTabSz="91436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914192" rtl="1">
              <a:defRPr/>
            </a:pPr>
            <a:r>
              <a:rPr lang="ar-S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مستودع بيانات منخفض التكلفة وعالي الأداء متوفر في جميع مناطق </a:t>
            </a:r>
            <a:r>
              <a:rPr lang="ar-S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Azure</a:t>
            </a:r>
            <a:r>
              <a:rPr lang="ar-S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 البالغ عددها </a:t>
            </a:r>
            <a:r>
              <a:rPr lang="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54</a:t>
            </a:r>
            <a:r>
              <a:rPr lang="ar-S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 منطقة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xmlns="" id="{ED3BD607-A2E9-4B00-8C95-A87A8023FF30}"/>
              </a:ext>
            </a:extLst>
          </p:cNvPr>
          <p:cNvSpPr txBox="1"/>
          <p:nvPr/>
        </p:nvSpPr>
        <p:spPr>
          <a:xfrm flipH="1">
            <a:off x="930013" y="2304478"/>
            <a:ext cx="727763" cy="19435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>
            <a:defPPr>
              <a:defRPr lang="en-US"/>
            </a:defPPr>
            <a:lvl1pPr marR="0" lvl="0" indent="0" defTabSz="914367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+mj-lt"/>
              </a:defRPr>
            </a:lvl1pPr>
          </a:lstStyle>
          <a:p>
            <a:pPr algn="r" defTabSz="914192" rtl="1"/>
            <a:r>
              <a:rPr lang="ar-SA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Power BI</a:t>
            </a: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xmlns="" id="{8309F222-4F99-4FE5-A751-F83CF2DE21B6}"/>
              </a:ext>
            </a:extLst>
          </p:cNvPr>
          <p:cNvSpPr>
            <a:spLocks noChangeAspect="1"/>
          </p:cNvSpPr>
          <p:nvPr/>
        </p:nvSpPr>
        <p:spPr bwMode="auto">
          <a:xfrm flipV="1">
            <a:off x="1937061" y="2238524"/>
            <a:ext cx="456241" cy="340634"/>
          </a:xfrm>
          <a:custGeom>
            <a:avLst/>
            <a:gdLst>
              <a:gd name="connsiteX0" fmla="*/ 724747 w 3011132"/>
              <a:gd name="connsiteY0" fmla="*/ 690457 h 2242888"/>
              <a:gd name="connsiteX1" fmla="*/ 889639 w 3011132"/>
              <a:gd name="connsiteY1" fmla="*/ 525565 h 2242888"/>
              <a:gd name="connsiteX2" fmla="*/ 889638 w 3011132"/>
              <a:gd name="connsiteY2" fmla="*/ 164892 h 2242888"/>
              <a:gd name="connsiteX3" fmla="*/ 724746 w 3011132"/>
              <a:gd name="connsiteY3" fmla="*/ 0 h 2242888"/>
              <a:gd name="connsiteX4" fmla="*/ 724747 w 3011132"/>
              <a:gd name="connsiteY4" fmla="*/ 1 h 2242888"/>
              <a:gd name="connsiteX5" fmla="*/ 559855 w 3011132"/>
              <a:gd name="connsiteY5" fmla="*/ 164893 h 2242888"/>
              <a:gd name="connsiteX6" fmla="*/ 559855 w 3011132"/>
              <a:gd name="connsiteY6" fmla="*/ 525565 h 2242888"/>
              <a:gd name="connsiteX7" fmla="*/ 724747 w 3011132"/>
              <a:gd name="connsiteY7" fmla="*/ 690457 h 2242888"/>
              <a:gd name="connsiteX8" fmla="*/ 1772676 w 3011132"/>
              <a:gd name="connsiteY8" fmla="*/ 1028296 h 2242888"/>
              <a:gd name="connsiteX9" fmla="*/ 1937568 w 3011132"/>
              <a:gd name="connsiteY9" fmla="*/ 863404 h 2242888"/>
              <a:gd name="connsiteX10" fmla="*/ 1937569 w 3011132"/>
              <a:gd name="connsiteY10" fmla="*/ 164893 h 2242888"/>
              <a:gd name="connsiteX11" fmla="*/ 1772677 w 3011132"/>
              <a:gd name="connsiteY11" fmla="*/ 1 h 2242888"/>
              <a:gd name="connsiteX12" fmla="*/ 1607785 w 3011132"/>
              <a:gd name="connsiteY12" fmla="*/ 164893 h 2242888"/>
              <a:gd name="connsiteX13" fmla="*/ 1607785 w 3011132"/>
              <a:gd name="connsiteY13" fmla="*/ 863403 h 2242888"/>
              <a:gd name="connsiteX14" fmla="*/ 1772677 w 3011132"/>
              <a:gd name="connsiteY14" fmla="*/ 1028295 h 2242888"/>
              <a:gd name="connsiteX15" fmla="*/ 1248711 w 3011132"/>
              <a:gd name="connsiteY15" fmla="*/ 1291654 h 2242888"/>
              <a:gd name="connsiteX16" fmla="*/ 1413603 w 3011132"/>
              <a:gd name="connsiteY16" fmla="*/ 1126762 h 2242888"/>
              <a:gd name="connsiteX17" fmla="*/ 1413604 w 3011132"/>
              <a:gd name="connsiteY17" fmla="*/ 164893 h 2242888"/>
              <a:gd name="connsiteX18" fmla="*/ 1248712 w 3011132"/>
              <a:gd name="connsiteY18" fmla="*/ 1 h 2242888"/>
              <a:gd name="connsiteX19" fmla="*/ 1083820 w 3011132"/>
              <a:gd name="connsiteY19" fmla="*/ 164893 h 2242888"/>
              <a:gd name="connsiteX20" fmla="*/ 1083820 w 3011132"/>
              <a:gd name="connsiteY20" fmla="*/ 1126761 h 2242888"/>
              <a:gd name="connsiteX21" fmla="*/ 1248712 w 3011132"/>
              <a:gd name="connsiteY21" fmla="*/ 1291653 h 2242888"/>
              <a:gd name="connsiteX22" fmla="*/ 2296641 w 3011132"/>
              <a:gd name="connsiteY22" fmla="*/ 1696388 h 2242888"/>
              <a:gd name="connsiteX23" fmla="*/ 2461533 w 3011132"/>
              <a:gd name="connsiteY23" fmla="*/ 1531496 h 2242888"/>
              <a:gd name="connsiteX24" fmla="*/ 2461534 w 3011132"/>
              <a:gd name="connsiteY24" fmla="*/ 164893 h 2242888"/>
              <a:gd name="connsiteX25" fmla="*/ 2296642 w 3011132"/>
              <a:gd name="connsiteY25" fmla="*/ 1 h 2242888"/>
              <a:gd name="connsiteX26" fmla="*/ 2131750 w 3011132"/>
              <a:gd name="connsiteY26" fmla="*/ 164893 h 2242888"/>
              <a:gd name="connsiteX27" fmla="*/ 2131750 w 3011132"/>
              <a:gd name="connsiteY27" fmla="*/ 1531495 h 2242888"/>
              <a:gd name="connsiteX28" fmla="*/ 2296642 w 3011132"/>
              <a:gd name="connsiteY28" fmla="*/ 1696387 h 2242888"/>
              <a:gd name="connsiteX29" fmla="*/ 370635 w 3011132"/>
              <a:gd name="connsiteY29" fmla="*/ 2242888 h 2242888"/>
              <a:gd name="connsiteX30" fmla="*/ 2640497 w 3011132"/>
              <a:gd name="connsiteY30" fmla="*/ 2242888 h 2242888"/>
              <a:gd name="connsiteX31" fmla="*/ 3011132 w 3011132"/>
              <a:gd name="connsiteY31" fmla="*/ 1872253 h 2242888"/>
              <a:gd name="connsiteX32" fmla="*/ 3011132 w 3011132"/>
              <a:gd name="connsiteY32" fmla="*/ 653116 h 2242888"/>
              <a:gd name="connsiteX33" fmla="*/ 2640497 w 3011132"/>
              <a:gd name="connsiteY33" fmla="*/ 282481 h 2242888"/>
              <a:gd name="connsiteX34" fmla="*/ 2630997 w 3011132"/>
              <a:gd name="connsiteY34" fmla="*/ 282481 h 2242888"/>
              <a:gd name="connsiteX35" fmla="*/ 2630997 w 3011132"/>
              <a:gd name="connsiteY35" fmla="*/ 397932 h 2242888"/>
              <a:gd name="connsiteX36" fmla="*/ 2635026 w 3011132"/>
              <a:gd name="connsiteY36" fmla="*/ 397932 h 2242888"/>
              <a:gd name="connsiteX37" fmla="*/ 2892528 w 3011132"/>
              <a:gd name="connsiteY37" fmla="*/ 655434 h 2242888"/>
              <a:gd name="connsiteX38" fmla="*/ 2892528 w 3011132"/>
              <a:gd name="connsiteY38" fmla="*/ 1869563 h 2242888"/>
              <a:gd name="connsiteX39" fmla="*/ 2635026 w 3011132"/>
              <a:gd name="connsiteY39" fmla="*/ 2127065 h 2242888"/>
              <a:gd name="connsiteX40" fmla="*/ 385364 w 3011132"/>
              <a:gd name="connsiteY40" fmla="*/ 2127065 h 2242888"/>
              <a:gd name="connsiteX41" fmla="*/ 127862 w 3011132"/>
              <a:gd name="connsiteY41" fmla="*/ 1869563 h 2242888"/>
              <a:gd name="connsiteX42" fmla="*/ 127862 w 3011132"/>
              <a:gd name="connsiteY42" fmla="*/ 655434 h 2242888"/>
              <a:gd name="connsiteX43" fmla="*/ 385364 w 3011132"/>
              <a:gd name="connsiteY43" fmla="*/ 397932 h 2242888"/>
              <a:gd name="connsiteX44" fmla="*/ 412220 w 3011132"/>
              <a:gd name="connsiteY44" fmla="*/ 397932 h 2242888"/>
              <a:gd name="connsiteX45" fmla="*/ 412220 w 3011132"/>
              <a:gd name="connsiteY45" fmla="*/ 282481 h 2242888"/>
              <a:gd name="connsiteX46" fmla="*/ 370635 w 3011132"/>
              <a:gd name="connsiteY46" fmla="*/ 282481 h 2242888"/>
              <a:gd name="connsiteX47" fmla="*/ 0 w 3011132"/>
              <a:gd name="connsiteY47" fmla="*/ 653116 h 2242888"/>
              <a:gd name="connsiteX48" fmla="*/ 0 w 3011132"/>
              <a:gd name="connsiteY48" fmla="*/ 1872253 h 2242888"/>
              <a:gd name="connsiteX49" fmla="*/ 370635 w 3011132"/>
              <a:gd name="connsiteY49" fmla="*/ 2242888 h 2242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3011132" h="2242888">
                <a:moveTo>
                  <a:pt x="724747" y="690457"/>
                </a:moveTo>
                <a:cubicBezTo>
                  <a:pt x="815814" y="690457"/>
                  <a:pt x="889639" y="616632"/>
                  <a:pt x="889639" y="525565"/>
                </a:cubicBezTo>
                <a:cubicBezTo>
                  <a:pt x="889639" y="405341"/>
                  <a:pt x="889638" y="285116"/>
                  <a:pt x="889638" y="164892"/>
                </a:cubicBezTo>
                <a:cubicBezTo>
                  <a:pt x="889638" y="73825"/>
                  <a:pt x="815813" y="0"/>
                  <a:pt x="724746" y="0"/>
                </a:cubicBezTo>
                <a:lnTo>
                  <a:pt x="724747" y="1"/>
                </a:lnTo>
                <a:cubicBezTo>
                  <a:pt x="633680" y="1"/>
                  <a:pt x="559855" y="73826"/>
                  <a:pt x="559855" y="164893"/>
                </a:cubicBezTo>
                <a:lnTo>
                  <a:pt x="559855" y="525565"/>
                </a:lnTo>
                <a:cubicBezTo>
                  <a:pt x="559855" y="616632"/>
                  <a:pt x="633680" y="690457"/>
                  <a:pt x="724747" y="690457"/>
                </a:cubicBezTo>
                <a:close/>
                <a:moveTo>
                  <a:pt x="1772676" y="1028296"/>
                </a:moveTo>
                <a:cubicBezTo>
                  <a:pt x="1863743" y="1028296"/>
                  <a:pt x="1937568" y="954471"/>
                  <a:pt x="1937568" y="863404"/>
                </a:cubicBezTo>
                <a:cubicBezTo>
                  <a:pt x="1937568" y="630567"/>
                  <a:pt x="1937569" y="397730"/>
                  <a:pt x="1937569" y="164893"/>
                </a:cubicBezTo>
                <a:cubicBezTo>
                  <a:pt x="1937569" y="73826"/>
                  <a:pt x="1863744" y="1"/>
                  <a:pt x="1772677" y="1"/>
                </a:cubicBezTo>
                <a:cubicBezTo>
                  <a:pt x="1681610" y="1"/>
                  <a:pt x="1607785" y="73826"/>
                  <a:pt x="1607785" y="164893"/>
                </a:cubicBezTo>
                <a:lnTo>
                  <a:pt x="1607785" y="863403"/>
                </a:lnTo>
                <a:cubicBezTo>
                  <a:pt x="1607785" y="954470"/>
                  <a:pt x="1681610" y="1028295"/>
                  <a:pt x="1772677" y="1028295"/>
                </a:cubicBezTo>
                <a:close/>
                <a:moveTo>
                  <a:pt x="1248711" y="1291654"/>
                </a:moveTo>
                <a:cubicBezTo>
                  <a:pt x="1339778" y="1291654"/>
                  <a:pt x="1413603" y="1217829"/>
                  <a:pt x="1413603" y="1126762"/>
                </a:cubicBezTo>
                <a:cubicBezTo>
                  <a:pt x="1413603" y="806139"/>
                  <a:pt x="1413604" y="485516"/>
                  <a:pt x="1413604" y="164893"/>
                </a:cubicBezTo>
                <a:cubicBezTo>
                  <a:pt x="1413604" y="73826"/>
                  <a:pt x="1339779" y="1"/>
                  <a:pt x="1248712" y="1"/>
                </a:cubicBezTo>
                <a:cubicBezTo>
                  <a:pt x="1157645" y="1"/>
                  <a:pt x="1083820" y="73826"/>
                  <a:pt x="1083820" y="164893"/>
                </a:cubicBezTo>
                <a:lnTo>
                  <a:pt x="1083820" y="1126761"/>
                </a:lnTo>
                <a:cubicBezTo>
                  <a:pt x="1083820" y="1217828"/>
                  <a:pt x="1157645" y="1291653"/>
                  <a:pt x="1248712" y="1291653"/>
                </a:cubicBezTo>
                <a:close/>
                <a:moveTo>
                  <a:pt x="2296641" y="1696388"/>
                </a:moveTo>
                <a:cubicBezTo>
                  <a:pt x="2387708" y="1696388"/>
                  <a:pt x="2461533" y="1622563"/>
                  <a:pt x="2461533" y="1531496"/>
                </a:cubicBezTo>
                <a:cubicBezTo>
                  <a:pt x="2461533" y="1075962"/>
                  <a:pt x="2461534" y="620427"/>
                  <a:pt x="2461534" y="164893"/>
                </a:cubicBezTo>
                <a:cubicBezTo>
                  <a:pt x="2461534" y="73826"/>
                  <a:pt x="2387709" y="1"/>
                  <a:pt x="2296642" y="1"/>
                </a:cubicBezTo>
                <a:cubicBezTo>
                  <a:pt x="2205575" y="1"/>
                  <a:pt x="2131750" y="73826"/>
                  <a:pt x="2131750" y="164893"/>
                </a:cubicBezTo>
                <a:lnTo>
                  <a:pt x="2131750" y="1531495"/>
                </a:lnTo>
                <a:cubicBezTo>
                  <a:pt x="2131750" y="1622562"/>
                  <a:pt x="2205575" y="1696387"/>
                  <a:pt x="2296642" y="1696387"/>
                </a:cubicBezTo>
                <a:close/>
                <a:moveTo>
                  <a:pt x="370635" y="2242888"/>
                </a:moveTo>
                <a:lnTo>
                  <a:pt x="2640497" y="2242888"/>
                </a:lnTo>
                <a:cubicBezTo>
                  <a:pt x="2845193" y="2242888"/>
                  <a:pt x="3011132" y="2076949"/>
                  <a:pt x="3011132" y="1872253"/>
                </a:cubicBezTo>
                <a:lnTo>
                  <a:pt x="3011132" y="653116"/>
                </a:lnTo>
                <a:cubicBezTo>
                  <a:pt x="3011132" y="448420"/>
                  <a:pt x="2845193" y="282481"/>
                  <a:pt x="2640497" y="282481"/>
                </a:cubicBezTo>
                <a:lnTo>
                  <a:pt x="2630997" y="282481"/>
                </a:lnTo>
                <a:lnTo>
                  <a:pt x="2630997" y="397932"/>
                </a:lnTo>
                <a:lnTo>
                  <a:pt x="2635026" y="397932"/>
                </a:lnTo>
                <a:cubicBezTo>
                  <a:pt x="2777240" y="397932"/>
                  <a:pt x="2892528" y="513220"/>
                  <a:pt x="2892528" y="655434"/>
                </a:cubicBezTo>
                <a:lnTo>
                  <a:pt x="2892528" y="1869563"/>
                </a:lnTo>
                <a:cubicBezTo>
                  <a:pt x="2892528" y="2011777"/>
                  <a:pt x="2777240" y="2127065"/>
                  <a:pt x="2635026" y="2127065"/>
                </a:cubicBezTo>
                <a:lnTo>
                  <a:pt x="385364" y="2127065"/>
                </a:lnTo>
                <a:cubicBezTo>
                  <a:pt x="243150" y="2127065"/>
                  <a:pt x="127862" y="2011777"/>
                  <a:pt x="127862" y="1869563"/>
                </a:cubicBezTo>
                <a:lnTo>
                  <a:pt x="127862" y="655434"/>
                </a:lnTo>
                <a:cubicBezTo>
                  <a:pt x="127862" y="513220"/>
                  <a:pt x="243150" y="397932"/>
                  <a:pt x="385364" y="397932"/>
                </a:cubicBezTo>
                <a:lnTo>
                  <a:pt x="412220" y="397932"/>
                </a:lnTo>
                <a:lnTo>
                  <a:pt x="412220" y="282481"/>
                </a:lnTo>
                <a:lnTo>
                  <a:pt x="370635" y="282481"/>
                </a:lnTo>
                <a:cubicBezTo>
                  <a:pt x="165939" y="282481"/>
                  <a:pt x="0" y="448420"/>
                  <a:pt x="0" y="653116"/>
                </a:cubicBezTo>
                <a:lnTo>
                  <a:pt x="0" y="1872253"/>
                </a:lnTo>
                <a:cubicBezTo>
                  <a:pt x="0" y="2076949"/>
                  <a:pt x="165939" y="2242888"/>
                  <a:pt x="370635" y="2242888"/>
                </a:cubicBezTo>
                <a:close/>
              </a:path>
            </a:pathLst>
          </a:custGeom>
          <a:solidFill>
            <a:srgbClr val="F5D54D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4" rIns="182854" bIns="146284" numCol="1" spcCol="0" rtlCol="1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solidFill>
                <a:schemeClr val="tx1"/>
              </a:solidFill>
              <a:latin typeface="Arial" panose="020B0604020202020204" pitchFamily="34" charset="0"/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88" name="Picture 87" descr="A picture containing clock&#10;&#10;Description automatically generated">
            <a:extLst>
              <a:ext uri="{FF2B5EF4-FFF2-40B4-BE49-F238E27FC236}">
                <a16:creationId xmlns:a16="http://schemas.microsoft.com/office/drawing/2014/main" xmlns="" id="{1C0195E6-F796-4F87-8632-F6668159FE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2442" y="1508339"/>
            <a:ext cx="560780" cy="56209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C05B780D-62F1-45A5-8E9B-BEF8DFE8EC8C}"/>
              </a:ext>
            </a:extLst>
          </p:cNvPr>
          <p:cNvSpPr txBox="1"/>
          <p:nvPr/>
        </p:nvSpPr>
        <p:spPr>
          <a:xfrm flipH="1">
            <a:off x="3566990" y="1639081"/>
            <a:ext cx="1861087" cy="360941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>
            <a:defPPr>
              <a:defRPr lang="en-US"/>
            </a:defPPr>
            <a:lvl1pPr marR="0" lvl="0" indent="0" defTabSz="914367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+mj-lt"/>
              </a:defRPr>
            </a:lvl1pPr>
          </a:lstStyle>
          <a:p>
            <a:pPr algn="r" defTabSz="914192" rtl="1"/>
            <a:r>
              <a:rPr lang="ar-SA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Azure Synapse</a:t>
            </a:r>
            <a:r>
              <a:rPr lang="ar-SA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 التحليلات</a:t>
            </a:r>
          </a:p>
          <a:p>
            <a:pPr algn="r" defTabSz="914192" rtl="1"/>
            <a:r>
              <a:rPr lang="ar-S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/>
              </a:rPr>
              <a:t>(مستودع البيانات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235DF672-C74B-4B45-82F3-AF8F4851D614}"/>
              </a:ext>
            </a:extLst>
          </p:cNvPr>
          <p:cNvSpPr txBox="1"/>
          <p:nvPr/>
        </p:nvSpPr>
        <p:spPr>
          <a:xfrm flipH="1">
            <a:off x="4020939" y="3414617"/>
            <a:ext cx="1463542" cy="19435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>
            <a:defPPr>
              <a:defRPr lang="en-US"/>
            </a:defPPr>
            <a:lvl1pPr marR="0" lvl="0" indent="0" defTabSz="914367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+mj-lt"/>
              </a:defRPr>
            </a:lvl1pPr>
          </a:lstStyle>
          <a:p>
            <a:pPr algn="r" defTabSz="914192" rtl="1"/>
            <a:r>
              <a:rPr lang="ar-SA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Azure Databricks</a:t>
            </a:r>
          </a:p>
        </p:txBody>
      </p:sp>
      <p:grpSp>
        <p:nvGrpSpPr>
          <p:cNvPr id="91" name="Group 4">
            <a:extLst>
              <a:ext uri="{FF2B5EF4-FFF2-40B4-BE49-F238E27FC236}">
                <a16:creationId xmlns:a16="http://schemas.microsoft.com/office/drawing/2014/main" xmlns="" id="{A9D4645D-D7CB-4D66-AD7F-652A20C762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21900" y="3342445"/>
            <a:ext cx="417453" cy="477297"/>
            <a:chOff x="1937" y="2617"/>
            <a:chExt cx="263" cy="300"/>
          </a:xfrm>
        </p:grpSpPr>
        <p:sp>
          <p:nvSpPr>
            <p:cNvPr id="94" name="AutoShape 3">
              <a:extLst>
                <a:ext uri="{FF2B5EF4-FFF2-40B4-BE49-F238E27FC236}">
                  <a16:creationId xmlns:a16="http://schemas.microsoft.com/office/drawing/2014/main" xmlns="" id="{CC7646B8-F5C0-4BB6-8985-C2CA9ABFE85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937" y="2617"/>
              <a:ext cx="263" cy="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rtlCol="1" anchor="t" anchorCtr="0" compatLnSpc="1">
              <a:prstTxWarp prst="textNoShape">
                <a:avLst/>
              </a:prstTxWarp>
            </a:bodyPr>
            <a:lstStyle/>
            <a:p>
              <a:pPr algn="r" defTabSz="914225" rtl="1">
                <a:defRPr/>
              </a:pPr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5">
              <a:extLst>
                <a:ext uri="{FF2B5EF4-FFF2-40B4-BE49-F238E27FC236}">
                  <a16:creationId xmlns:a16="http://schemas.microsoft.com/office/drawing/2014/main" xmlns="" id="{ECB4B2DA-9D0B-4A0C-A67B-257B39EC3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7" y="2792"/>
              <a:ext cx="265" cy="125"/>
            </a:xfrm>
            <a:custGeom>
              <a:avLst/>
              <a:gdLst>
                <a:gd name="T0" fmla="*/ 0 w 265"/>
                <a:gd name="T1" fmla="*/ 0 h 125"/>
                <a:gd name="T2" fmla="*/ 0 w 265"/>
                <a:gd name="T3" fmla="*/ 48 h 125"/>
                <a:gd name="T4" fmla="*/ 133 w 265"/>
                <a:gd name="T5" fmla="*/ 125 h 125"/>
                <a:gd name="T6" fmla="*/ 265 w 265"/>
                <a:gd name="T7" fmla="*/ 48 h 125"/>
                <a:gd name="T8" fmla="*/ 265 w 265"/>
                <a:gd name="T9" fmla="*/ 0 h 125"/>
                <a:gd name="T10" fmla="*/ 0 w 265"/>
                <a:gd name="T11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125">
                  <a:moveTo>
                    <a:pt x="0" y="0"/>
                  </a:moveTo>
                  <a:lnTo>
                    <a:pt x="0" y="48"/>
                  </a:lnTo>
                  <a:lnTo>
                    <a:pt x="133" y="125"/>
                  </a:lnTo>
                  <a:lnTo>
                    <a:pt x="265" y="48"/>
                  </a:lnTo>
                  <a:lnTo>
                    <a:pt x="26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E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rtlCol="1" anchor="t" anchorCtr="0" compatLnSpc="1">
              <a:prstTxWarp prst="textNoShape">
                <a:avLst/>
              </a:prstTxWarp>
            </a:bodyPr>
            <a:lstStyle/>
            <a:p>
              <a:pPr algn="r" defTabSz="914225" rtl="1">
                <a:defRPr/>
              </a:pPr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6">
              <a:extLst>
                <a:ext uri="{FF2B5EF4-FFF2-40B4-BE49-F238E27FC236}">
                  <a16:creationId xmlns:a16="http://schemas.microsoft.com/office/drawing/2014/main" xmlns="" id="{F8CA27FE-23E8-4EB6-8AA4-58806A4D6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" y="2792"/>
              <a:ext cx="132" cy="125"/>
            </a:xfrm>
            <a:custGeom>
              <a:avLst/>
              <a:gdLst>
                <a:gd name="T0" fmla="*/ 0 w 132"/>
                <a:gd name="T1" fmla="*/ 0 h 125"/>
                <a:gd name="T2" fmla="*/ 0 w 132"/>
                <a:gd name="T3" fmla="*/ 125 h 125"/>
                <a:gd name="T4" fmla="*/ 132 w 132"/>
                <a:gd name="T5" fmla="*/ 48 h 125"/>
                <a:gd name="T6" fmla="*/ 132 w 132"/>
                <a:gd name="T7" fmla="*/ 0 h 125"/>
                <a:gd name="T8" fmla="*/ 0 w 132"/>
                <a:gd name="T9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25">
                  <a:moveTo>
                    <a:pt x="0" y="0"/>
                  </a:moveTo>
                  <a:lnTo>
                    <a:pt x="0" y="125"/>
                  </a:lnTo>
                  <a:lnTo>
                    <a:pt x="132" y="48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D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rtlCol="1" anchor="t" anchorCtr="0" compatLnSpc="1">
              <a:prstTxWarp prst="textNoShape">
                <a:avLst/>
              </a:prstTxWarp>
            </a:bodyPr>
            <a:lstStyle/>
            <a:p>
              <a:pPr algn="r" defTabSz="914225" rtl="1">
                <a:defRPr/>
              </a:pPr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xmlns="" id="{25B9DA86-8DC4-4857-907A-92E759512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7" y="2717"/>
              <a:ext cx="265" cy="151"/>
            </a:xfrm>
            <a:custGeom>
              <a:avLst/>
              <a:gdLst>
                <a:gd name="T0" fmla="*/ 0 w 265"/>
                <a:gd name="T1" fmla="*/ 75 h 151"/>
                <a:gd name="T2" fmla="*/ 133 w 265"/>
                <a:gd name="T3" fmla="*/ 151 h 151"/>
                <a:gd name="T4" fmla="*/ 265 w 265"/>
                <a:gd name="T5" fmla="*/ 75 h 151"/>
                <a:gd name="T6" fmla="*/ 133 w 265"/>
                <a:gd name="T7" fmla="*/ 0 h 151"/>
                <a:gd name="T8" fmla="*/ 0 w 265"/>
                <a:gd name="T9" fmla="*/ 7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5" h="151">
                  <a:moveTo>
                    <a:pt x="0" y="75"/>
                  </a:moveTo>
                  <a:lnTo>
                    <a:pt x="133" y="151"/>
                  </a:lnTo>
                  <a:lnTo>
                    <a:pt x="265" y="75"/>
                  </a:lnTo>
                  <a:lnTo>
                    <a:pt x="133" y="0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rtlCol="1" anchor="t" anchorCtr="0" compatLnSpc="1">
              <a:prstTxWarp prst="textNoShape">
                <a:avLst/>
              </a:prstTxWarp>
            </a:bodyPr>
            <a:lstStyle/>
            <a:p>
              <a:pPr algn="r" defTabSz="914225" rtl="1">
                <a:defRPr/>
              </a:pPr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xmlns="" id="{EE1849EF-ACD7-4C9F-A26B-F78AD8262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7" y="2692"/>
              <a:ext cx="265" cy="125"/>
            </a:xfrm>
            <a:custGeom>
              <a:avLst/>
              <a:gdLst>
                <a:gd name="T0" fmla="*/ 0 w 265"/>
                <a:gd name="T1" fmla="*/ 0 h 125"/>
                <a:gd name="T2" fmla="*/ 0 w 265"/>
                <a:gd name="T3" fmla="*/ 50 h 125"/>
                <a:gd name="T4" fmla="*/ 133 w 265"/>
                <a:gd name="T5" fmla="*/ 125 h 125"/>
                <a:gd name="T6" fmla="*/ 265 w 265"/>
                <a:gd name="T7" fmla="*/ 50 h 125"/>
                <a:gd name="T8" fmla="*/ 265 w 265"/>
                <a:gd name="T9" fmla="*/ 0 h 125"/>
                <a:gd name="T10" fmla="*/ 0 w 265"/>
                <a:gd name="T11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125">
                  <a:moveTo>
                    <a:pt x="0" y="0"/>
                  </a:moveTo>
                  <a:lnTo>
                    <a:pt x="0" y="50"/>
                  </a:lnTo>
                  <a:lnTo>
                    <a:pt x="133" y="125"/>
                  </a:lnTo>
                  <a:lnTo>
                    <a:pt x="265" y="50"/>
                  </a:lnTo>
                  <a:lnTo>
                    <a:pt x="26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C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rtlCol="1" anchor="t" anchorCtr="0" compatLnSpc="1">
              <a:prstTxWarp prst="textNoShape">
                <a:avLst/>
              </a:prstTxWarp>
            </a:bodyPr>
            <a:lstStyle/>
            <a:p>
              <a:pPr algn="r" defTabSz="914225" rtl="1">
                <a:defRPr/>
              </a:pPr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xmlns="" id="{87E67463-EED8-447A-BA6C-A2BC3570E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" y="2692"/>
              <a:ext cx="132" cy="125"/>
            </a:xfrm>
            <a:custGeom>
              <a:avLst/>
              <a:gdLst>
                <a:gd name="T0" fmla="*/ 0 w 132"/>
                <a:gd name="T1" fmla="*/ 0 h 125"/>
                <a:gd name="T2" fmla="*/ 0 w 132"/>
                <a:gd name="T3" fmla="*/ 125 h 125"/>
                <a:gd name="T4" fmla="*/ 132 w 132"/>
                <a:gd name="T5" fmla="*/ 50 h 125"/>
                <a:gd name="T6" fmla="*/ 132 w 132"/>
                <a:gd name="T7" fmla="*/ 0 h 125"/>
                <a:gd name="T8" fmla="*/ 0 w 132"/>
                <a:gd name="T9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25">
                  <a:moveTo>
                    <a:pt x="0" y="0"/>
                  </a:moveTo>
                  <a:lnTo>
                    <a:pt x="0" y="125"/>
                  </a:lnTo>
                  <a:lnTo>
                    <a:pt x="132" y="50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A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rtlCol="1" anchor="t" anchorCtr="0" compatLnSpc="1">
              <a:prstTxWarp prst="textNoShape">
                <a:avLst/>
              </a:prstTxWarp>
            </a:bodyPr>
            <a:lstStyle/>
            <a:p>
              <a:pPr algn="r" defTabSz="914225" rtl="1">
                <a:defRPr/>
              </a:pPr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xmlns="" id="{C1E7755B-46EB-4F56-8604-EBDF1726A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7" y="2617"/>
              <a:ext cx="265" cy="151"/>
            </a:xfrm>
            <a:custGeom>
              <a:avLst/>
              <a:gdLst>
                <a:gd name="T0" fmla="*/ 0 w 265"/>
                <a:gd name="T1" fmla="*/ 75 h 151"/>
                <a:gd name="T2" fmla="*/ 133 w 265"/>
                <a:gd name="T3" fmla="*/ 151 h 151"/>
                <a:gd name="T4" fmla="*/ 265 w 265"/>
                <a:gd name="T5" fmla="*/ 75 h 151"/>
                <a:gd name="T6" fmla="*/ 133 w 265"/>
                <a:gd name="T7" fmla="*/ 0 h 151"/>
                <a:gd name="T8" fmla="*/ 0 w 265"/>
                <a:gd name="T9" fmla="*/ 7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5" h="151">
                  <a:moveTo>
                    <a:pt x="0" y="75"/>
                  </a:moveTo>
                  <a:lnTo>
                    <a:pt x="133" y="151"/>
                  </a:lnTo>
                  <a:lnTo>
                    <a:pt x="265" y="75"/>
                  </a:lnTo>
                  <a:lnTo>
                    <a:pt x="133" y="0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rtlCol="1" anchor="t" anchorCtr="0" compatLnSpc="1">
              <a:prstTxWarp prst="textNoShape">
                <a:avLst/>
              </a:prstTxWarp>
            </a:bodyPr>
            <a:lstStyle/>
            <a:p>
              <a:pPr algn="r" defTabSz="914225" rtl="1">
                <a:defRPr/>
              </a:pPr>
              <a:endParaRPr lang="en-US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241DE3CC-2E36-4DEA-8524-52454A383C43}"/>
              </a:ext>
            </a:extLst>
          </p:cNvPr>
          <p:cNvSpPr txBox="1"/>
          <p:nvPr/>
        </p:nvSpPr>
        <p:spPr>
          <a:xfrm flipH="1">
            <a:off x="7062322" y="2442738"/>
            <a:ext cx="1631858" cy="19435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/>
          <a:p>
            <a:pPr algn="r" defTabSz="914192" rtl="1">
              <a:lnSpc>
                <a:spcPct val="90000"/>
              </a:lnSpc>
              <a:defRPr/>
            </a:pPr>
            <a:r>
              <a:rPr lang="ar-SA" sz="1400" b="1" dirty="0"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Azure Data Factory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81BB536A-8AEA-4314-ABE9-4355A2A63ACF}"/>
              </a:ext>
            </a:extLst>
          </p:cNvPr>
          <p:cNvSpPr txBox="1"/>
          <p:nvPr/>
        </p:nvSpPr>
        <p:spPr>
          <a:xfrm flipH="1">
            <a:off x="3563473" y="4881574"/>
            <a:ext cx="2109552" cy="194353"/>
          </a:xfrm>
          <a:prstGeom prst="rect">
            <a:avLst/>
          </a:prstGeom>
          <a:noFill/>
        </p:spPr>
        <p:txBody>
          <a:bodyPr wrap="square" lIns="0" tIns="0" rIns="0" bIns="0" rtlCol="1">
            <a:spAutoFit/>
          </a:bodyPr>
          <a:lstStyle>
            <a:defPPr>
              <a:defRPr lang="en-US"/>
            </a:defPPr>
            <a:lvl1pPr marR="0" lvl="0" indent="0" defTabSz="914367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+mj-lt"/>
              </a:defRPr>
            </a:lvl1pPr>
          </a:lstStyle>
          <a:p>
            <a:pPr algn="r" defTabSz="914192" rtl="1"/>
            <a:r>
              <a:rPr lang="ar-SA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rtl val="0"/>
              </a:rPr>
              <a:t>Azure Data Lake Storag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22B013E4-F93E-4D39-A502-8183A6D585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821050" y="2304585"/>
            <a:ext cx="443423" cy="444460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xmlns="" id="{A3B4FFCF-97F6-40E6-918F-8A80860219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5791431" y="4732191"/>
            <a:ext cx="445800" cy="492398"/>
          </a:xfrm>
          <a:prstGeom prst="rect">
            <a:avLst/>
          </a:prstGeom>
        </p:spPr>
      </p:pic>
      <p:grpSp>
        <p:nvGrpSpPr>
          <p:cNvPr id="77" name="Group 76">
            <a:extLst>
              <a:ext uri="{FF2B5EF4-FFF2-40B4-BE49-F238E27FC236}">
                <a16:creationId xmlns:a16="http://schemas.microsoft.com/office/drawing/2014/main" xmlns="" id="{D0185082-9007-489A-8096-8039FDE64EF6}"/>
              </a:ext>
            </a:extLst>
          </p:cNvPr>
          <p:cNvGrpSpPr/>
          <p:nvPr/>
        </p:nvGrpSpPr>
        <p:grpSpPr>
          <a:xfrm>
            <a:off x="11355973" y="2458369"/>
            <a:ext cx="423604" cy="436907"/>
            <a:chOff x="425774" y="3428914"/>
            <a:chExt cx="423664" cy="435948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xmlns="" id="{23AD7904-063B-4ED3-87A5-0EAB4B5C93AE}"/>
                </a:ext>
              </a:extLst>
            </p:cNvPr>
            <p:cNvSpPr/>
            <p:nvPr/>
          </p:nvSpPr>
          <p:spPr bwMode="auto">
            <a:xfrm>
              <a:off x="425774" y="3428914"/>
              <a:ext cx="376317" cy="374604"/>
            </a:xfrm>
            <a:prstGeom prst="rect">
              <a:avLst/>
            </a:prstGeom>
            <a:solidFill>
              <a:srgbClr val="50E6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rtl="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0" name="Group 59">
              <a:extLst>
                <a:ext uri="{FF2B5EF4-FFF2-40B4-BE49-F238E27FC236}">
                  <a16:creationId xmlns:a16="http://schemas.microsoft.com/office/drawing/2014/main" xmlns="" id="{3854AE16-DFFC-4A1E-AAF8-60178AB5613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92356" y="3507780"/>
              <a:ext cx="357082" cy="357082"/>
              <a:chOff x="4013" y="2783"/>
              <a:chExt cx="312" cy="312"/>
            </a:xfrm>
          </p:grpSpPr>
          <p:sp>
            <p:nvSpPr>
              <p:cNvPr id="84" name="AutoShape 58">
                <a:extLst>
                  <a:ext uri="{FF2B5EF4-FFF2-40B4-BE49-F238E27FC236}">
                    <a16:creationId xmlns:a16="http://schemas.microsoft.com/office/drawing/2014/main" xmlns="" id="{AC555786-51CF-4B70-8EBF-27323503549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4013" y="2783"/>
                <a:ext cx="312" cy="3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rtlCol="1" anchor="t" anchorCtr="0" compatLnSpc="1">
                <a:prstTxWarp prst="textNoShape">
                  <a:avLst/>
                </a:prstTxWarp>
              </a:bodyPr>
              <a:lstStyle/>
              <a:p>
                <a:pPr algn="r" defTabSz="914192" rtl="1">
                  <a:defRPr/>
                </a:pPr>
                <a:endParaRPr lang="en-US" kern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5" name="Rectangle 60">
                <a:extLst>
                  <a:ext uri="{FF2B5EF4-FFF2-40B4-BE49-F238E27FC236}">
                    <a16:creationId xmlns:a16="http://schemas.microsoft.com/office/drawing/2014/main" xmlns="" id="{B536DFC7-073A-4425-8EEF-9593A7793D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3" y="2784"/>
                <a:ext cx="312" cy="31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rtlCol="1" anchor="t" anchorCtr="0" compatLnSpc="1">
                <a:prstTxWarp prst="textNoShape">
                  <a:avLst/>
                </a:prstTxWarp>
              </a:bodyPr>
              <a:lstStyle/>
              <a:p>
                <a:pPr algn="r" defTabSz="914192" rtl="1">
                  <a:defRPr/>
                </a:pPr>
                <a:endParaRPr lang="en-US" kern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" name="Rectangle 61">
                <a:extLst>
                  <a:ext uri="{FF2B5EF4-FFF2-40B4-BE49-F238E27FC236}">
                    <a16:creationId xmlns:a16="http://schemas.microsoft.com/office/drawing/2014/main" xmlns="" id="{FC81AE83-D9BB-47BA-B971-B80BF80912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3" y="2783"/>
                <a:ext cx="312" cy="311"/>
              </a:xfrm>
              <a:prstGeom prst="rect">
                <a:avLst/>
              </a:prstGeom>
              <a:solidFill>
                <a:srgbClr val="0078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rtlCol="1" anchor="t" anchorCtr="0" compatLnSpc="1">
                <a:prstTxWarp prst="textNoShape">
                  <a:avLst/>
                </a:prstTxWarp>
              </a:bodyPr>
              <a:lstStyle/>
              <a:p>
                <a:pPr algn="r" defTabSz="914192" rtl="1">
                  <a:defRPr/>
                </a:pPr>
                <a:endParaRPr lang="en-US" kern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2" name="Freeform 62">
                <a:extLst>
                  <a:ext uri="{FF2B5EF4-FFF2-40B4-BE49-F238E27FC236}">
                    <a16:creationId xmlns:a16="http://schemas.microsoft.com/office/drawing/2014/main" xmlns="" id="{A9B75C57-A6EB-48B2-98F2-99867BABA8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" y="2900"/>
                <a:ext cx="312" cy="195"/>
              </a:xfrm>
              <a:custGeom>
                <a:avLst/>
                <a:gdLst>
                  <a:gd name="T0" fmla="*/ 263 w 312"/>
                  <a:gd name="T1" fmla="*/ 78 h 195"/>
                  <a:gd name="T2" fmla="*/ 214 w 312"/>
                  <a:gd name="T3" fmla="*/ 127 h 195"/>
                  <a:gd name="T4" fmla="*/ 88 w 312"/>
                  <a:gd name="T5" fmla="*/ 0 h 195"/>
                  <a:gd name="T6" fmla="*/ 0 w 312"/>
                  <a:gd name="T7" fmla="*/ 88 h 195"/>
                  <a:gd name="T8" fmla="*/ 0 w 312"/>
                  <a:gd name="T9" fmla="*/ 195 h 195"/>
                  <a:gd name="T10" fmla="*/ 88 w 312"/>
                  <a:gd name="T11" fmla="*/ 195 h 195"/>
                  <a:gd name="T12" fmla="*/ 146 w 312"/>
                  <a:gd name="T13" fmla="*/ 195 h 195"/>
                  <a:gd name="T14" fmla="*/ 263 w 312"/>
                  <a:gd name="T15" fmla="*/ 195 h 195"/>
                  <a:gd name="T16" fmla="*/ 282 w 312"/>
                  <a:gd name="T17" fmla="*/ 195 h 195"/>
                  <a:gd name="T18" fmla="*/ 312 w 312"/>
                  <a:gd name="T19" fmla="*/ 195 h 195"/>
                  <a:gd name="T20" fmla="*/ 312 w 312"/>
                  <a:gd name="T21" fmla="*/ 126 h 195"/>
                  <a:gd name="T22" fmla="*/ 263 w 312"/>
                  <a:gd name="T23" fmla="*/ 78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2" h="195">
                    <a:moveTo>
                      <a:pt x="263" y="78"/>
                    </a:moveTo>
                    <a:lnTo>
                      <a:pt x="214" y="127"/>
                    </a:lnTo>
                    <a:lnTo>
                      <a:pt x="88" y="0"/>
                    </a:lnTo>
                    <a:lnTo>
                      <a:pt x="0" y="88"/>
                    </a:lnTo>
                    <a:lnTo>
                      <a:pt x="0" y="195"/>
                    </a:lnTo>
                    <a:lnTo>
                      <a:pt x="88" y="195"/>
                    </a:lnTo>
                    <a:lnTo>
                      <a:pt x="146" y="195"/>
                    </a:lnTo>
                    <a:lnTo>
                      <a:pt x="263" y="195"/>
                    </a:lnTo>
                    <a:lnTo>
                      <a:pt x="282" y="195"/>
                    </a:lnTo>
                    <a:lnTo>
                      <a:pt x="312" y="195"/>
                    </a:lnTo>
                    <a:lnTo>
                      <a:pt x="312" y="126"/>
                    </a:lnTo>
                    <a:lnTo>
                      <a:pt x="263" y="78"/>
                    </a:lnTo>
                    <a:close/>
                  </a:path>
                </a:pathLst>
              </a:custGeom>
              <a:solidFill>
                <a:srgbClr val="50E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rtlCol="1" anchor="t" anchorCtr="0" compatLnSpc="1">
                <a:prstTxWarp prst="textNoShape">
                  <a:avLst/>
                </a:prstTxWarp>
              </a:bodyPr>
              <a:lstStyle/>
              <a:p>
                <a:pPr algn="r" defTabSz="914192" rtl="1">
                  <a:defRPr/>
                </a:pPr>
                <a:endParaRPr lang="en-US" kern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3" name="Oval 63">
                <a:extLst>
                  <a:ext uri="{FF2B5EF4-FFF2-40B4-BE49-F238E27FC236}">
                    <a16:creationId xmlns:a16="http://schemas.microsoft.com/office/drawing/2014/main" xmlns="" id="{B430A065-AF48-4480-A8E1-740D4CA651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8" y="2822"/>
                <a:ext cx="88" cy="88"/>
              </a:xfrm>
              <a:prstGeom prst="ellipse">
                <a:avLst/>
              </a:prstGeom>
              <a:solidFill>
                <a:srgbClr val="F4F4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rtlCol="1" anchor="t" anchorCtr="0" compatLnSpc="1">
                <a:prstTxWarp prst="textNoShape">
                  <a:avLst/>
                </a:prstTxWarp>
              </a:bodyPr>
              <a:lstStyle/>
              <a:p>
                <a:pPr algn="r" defTabSz="914192" rtl="1">
                  <a:defRPr/>
                </a:pPr>
                <a:endParaRPr lang="en-US" kern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xmlns="" id="{17C54567-7953-4A5B-8CC6-7CB657DE53E3}"/>
              </a:ext>
            </a:extLst>
          </p:cNvPr>
          <p:cNvGrpSpPr/>
          <p:nvPr/>
        </p:nvGrpSpPr>
        <p:grpSpPr>
          <a:xfrm>
            <a:off x="11373696" y="3302920"/>
            <a:ext cx="388159" cy="428651"/>
            <a:chOff x="343593" y="4433674"/>
            <a:chExt cx="388214" cy="427711"/>
          </a:xfrm>
        </p:grpSpPr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xmlns="" id="{E70207E9-C50C-4EA6-BB62-E7E2D368BD6C}"/>
                </a:ext>
              </a:extLst>
            </p:cNvPr>
            <p:cNvSpPr/>
            <p:nvPr/>
          </p:nvSpPr>
          <p:spPr bwMode="auto">
            <a:xfrm>
              <a:off x="343593" y="4433674"/>
              <a:ext cx="262069" cy="364075"/>
            </a:xfrm>
            <a:prstGeom prst="rect">
              <a:avLst/>
            </a:prstGeom>
            <a:solidFill>
              <a:srgbClr val="50E6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rtl="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document">
              <a:extLst>
                <a:ext uri="{FF2B5EF4-FFF2-40B4-BE49-F238E27FC236}">
                  <a16:creationId xmlns:a16="http://schemas.microsoft.com/office/drawing/2014/main" xmlns="" id="{F84BDB0F-CDDB-4466-B307-79BA75F73DC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69738" y="4503224"/>
              <a:ext cx="262069" cy="358161"/>
            </a:xfrm>
            <a:custGeom>
              <a:avLst/>
              <a:gdLst>
                <a:gd name="T0" fmla="*/ 48 w 180"/>
                <a:gd name="T1" fmla="*/ 0 h 246"/>
                <a:gd name="T2" fmla="*/ 97 w 180"/>
                <a:gd name="T3" fmla="*/ 0 h 246"/>
                <a:gd name="T4" fmla="*/ 180 w 180"/>
                <a:gd name="T5" fmla="*/ 82 h 246"/>
                <a:gd name="T6" fmla="*/ 180 w 180"/>
                <a:gd name="T7" fmla="*/ 246 h 246"/>
                <a:gd name="T8" fmla="*/ 0 w 180"/>
                <a:gd name="T9" fmla="*/ 246 h 246"/>
                <a:gd name="T10" fmla="*/ 0 w 180"/>
                <a:gd name="T11" fmla="*/ 0 h 246"/>
                <a:gd name="T12" fmla="*/ 48 w 180"/>
                <a:gd name="T13" fmla="*/ 0 h 246"/>
                <a:gd name="T14" fmla="*/ 97 w 180"/>
                <a:gd name="T15" fmla="*/ 0 h 246"/>
                <a:gd name="T16" fmla="*/ 97 w 180"/>
                <a:gd name="T17" fmla="*/ 82 h 246"/>
                <a:gd name="T18" fmla="*/ 180 w 180"/>
                <a:gd name="T19" fmla="*/ 8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246">
                  <a:moveTo>
                    <a:pt x="48" y="0"/>
                  </a:moveTo>
                  <a:lnTo>
                    <a:pt x="97" y="0"/>
                  </a:lnTo>
                  <a:lnTo>
                    <a:pt x="180" y="82"/>
                  </a:lnTo>
                  <a:lnTo>
                    <a:pt x="180" y="246"/>
                  </a:lnTo>
                  <a:lnTo>
                    <a:pt x="0" y="246"/>
                  </a:lnTo>
                  <a:lnTo>
                    <a:pt x="0" y="0"/>
                  </a:lnTo>
                  <a:lnTo>
                    <a:pt x="48" y="0"/>
                  </a:lnTo>
                  <a:moveTo>
                    <a:pt x="97" y="0"/>
                  </a:moveTo>
                  <a:lnTo>
                    <a:pt x="97" y="82"/>
                  </a:lnTo>
                  <a:lnTo>
                    <a:pt x="180" y="82"/>
                  </a:lnTo>
                </a:path>
              </a:pathLst>
            </a:custGeom>
            <a:solidFill>
              <a:srgbClr val="0078D7"/>
            </a:solidFill>
            <a:ln w="15875" cap="flat">
              <a:solidFill>
                <a:srgbClr val="0078D7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7" tIns="45713" rIns="91427" bIns="45713" numCol="1" rtlCol="1" anchor="t" anchorCtr="0" compatLnSpc="1">
              <a:prstTxWarp prst="textNoShape">
                <a:avLst/>
              </a:prstTxWarp>
            </a:bodyPr>
            <a:lstStyle/>
            <a:p>
              <a:pPr algn="r" defTabSz="914225" rtl="1">
                <a:defRPr/>
              </a:pPr>
              <a:endParaRPr lang="en-US" sz="1800" ker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xmlns="" id="{69D819F4-5575-41BD-A5FC-F2949F27B8BE}"/>
              </a:ext>
            </a:extLst>
          </p:cNvPr>
          <p:cNvGrpSpPr/>
          <p:nvPr/>
        </p:nvGrpSpPr>
        <p:grpSpPr>
          <a:xfrm>
            <a:off x="11410582" y="1675148"/>
            <a:ext cx="314385" cy="364876"/>
            <a:chOff x="305587" y="2721796"/>
            <a:chExt cx="314430" cy="364076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xmlns="" id="{A29F6BF7-5B4C-4655-866C-2EB260A6BD9B}"/>
                </a:ext>
              </a:extLst>
            </p:cNvPr>
            <p:cNvSpPr/>
            <p:nvPr/>
          </p:nvSpPr>
          <p:spPr bwMode="auto">
            <a:xfrm>
              <a:off x="381000" y="2986460"/>
              <a:ext cx="187325" cy="96237"/>
            </a:xfrm>
            <a:prstGeom prst="rect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4" rIns="182854" bIns="146284" numCol="1" spcCol="0" rtlCol="1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rtl="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err="1"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document_3">
              <a:extLst>
                <a:ext uri="{FF2B5EF4-FFF2-40B4-BE49-F238E27FC236}">
                  <a16:creationId xmlns:a16="http://schemas.microsoft.com/office/drawing/2014/main" xmlns="" id="{0066B0D6-F825-45B7-84A9-351D4A6D126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05587" y="2721796"/>
              <a:ext cx="314430" cy="364076"/>
            </a:xfrm>
            <a:custGeom>
              <a:avLst/>
              <a:gdLst>
                <a:gd name="T0" fmla="*/ 54 w 288"/>
                <a:gd name="T1" fmla="*/ 334 h 334"/>
                <a:gd name="T2" fmla="*/ 237 w 288"/>
                <a:gd name="T3" fmla="*/ 334 h 334"/>
                <a:gd name="T4" fmla="*/ 288 w 288"/>
                <a:gd name="T5" fmla="*/ 283 h 334"/>
                <a:gd name="T6" fmla="*/ 102 w 288"/>
                <a:gd name="T7" fmla="*/ 283 h 334"/>
                <a:gd name="T8" fmla="*/ 51 w 288"/>
                <a:gd name="T9" fmla="*/ 334 h 334"/>
                <a:gd name="T10" fmla="*/ 0 w 288"/>
                <a:gd name="T11" fmla="*/ 283 h 334"/>
                <a:gd name="T12" fmla="*/ 0 w 288"/>
                <a:gd name="T13" fmla="*/ 0 h 334"/>
                <a:gd name="T14" fmla="*/ 256 w 288"/>
                <a:gd name="T15" fmla="*/ 0 h 334"/>
                <a:gd name="T16" fmla="*/ 256 w 288"/>
                <a:gd name="T17" fmla="*/ 282 h 334"/>
                <a:gd name="T18" fmla="*/ 90 w 288"/>
                <a:gd name="T19" fmla="*/ 76 h 334"/>
                <a:gd name="T20" fmla="*/ 220 w 288"/>
                <a:gd name="T21" fmla="*/ 76 h 334"/>
                <a:gd name="T22" fmla="*/ 38 w 288"/>
                <a:gd name="T23" fmla="*/ 76 h 334"/>
                <a:gd name="T24" fmla="*/ 64 w 288"/>
                <a:gd name="T25" fmla="*/ 76 h 334"/>
                <a:gd name="T26" fmla="*/ 90 w 288"/>
                <a:gd name="T27" fmla="*/ 153 h 334"/>
                <a:gd name="T28" fmla="*/ 220 w 288"/>
                <a:gd name="T29" fmla="*/ 153 h 334"/>
                <a:gd name="T30" fmla="*/ 38 w 288"/>
                <a:gd name="T31" fmla="*/ 153 h 334"/>
                <a:gd name="T32" fmla="*/ 64 w 288"/>
                <a:gd name="T33" fmla="*/ 153 h 334"/>
                <a:gd name="T34" fmla="*/ 90 w 288"/>
                <a:gd name="T35" fmla="*/ 230 h 334"/>
                <a:gd name="T36" fmla="*/ 220 w 288"/>
                <a:gd name="T37" fmla="*/ 230 h 334"/>
                <a:gd name="T38" fmla="*/ 38 w 288"/>
                <a:gd name="T39" fmla="*/ 230 h 334"/>
                <a:gd name="T40" fmla="*/ 64 w 288"/>
                <a:gd name="T41" fmla="*/ 23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334">
                  <a:moveTo>
                    <a:pt x="54" y="334"/>
                  </a:moveTo>
                  <a:cubicBezTo>
                    <a:pt x="237" y="334"/>
                    <a:pt x="237" y="334"/>
                    <a:pt x="237" y="334"/>
                  </a:cubicBezTo>
                  <a:cubicBezTo>
                    <a:pt x="265" y="334"/>
                    <a:pt x="288" y="311"/>
                    <a:pt x="288" y="283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2" y="311"/>
                    <a:pt x="79" y="334"/>
                    <a:pt x="51" y="334"/>
                  </a:cubicBezTo>
                  <a:cubicBezTo>
                    <a:pt x="23" y="334"/>
                    <a:pt x="0" y="311"/>
                    <a:pt x="0" y="28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256" y="282"/>
                    <a:pt x="256" y="282"/>
                    <a:pt x="256" y="282"/>
                  </a:cubicBezTo>
                  <a:moveTo>
                    <a:pt x="90" y="76"/>
                  </a:moveTo>
                  <a:cubicBezTo>
                    <a:pt x="220" y="76"/>
                    <a:pt x="220" y="76"/>
                    <a:pt x="220" y="76"/>
                  </a:cubicBezTo>
                  <a:moveTo>
                    <a:pt x="38" y="76"/>
                  </a:moveTo>
                  <a:cubicBezTo>
                    <a:pt x="64" y="76"/>
                    <a:pt x="64" y="76"/>
                    <a:pt x="64" y="76"/>
                  </a:cubicBezTo>
                  <a:moveTo>
                    <a:pt x="90" y="153"/>
                  </a:moveTo>
                  <a:cubicBezTo>
                    <a:pt x="220" y="153"/>
                    <a:pt x="220" y="153"/>
                    <a:pt x="220" y="153"/>
                  </a:cubicBezTo>
                  <a:moveTo>
                    <a:pt x="38" y="153"/>
                  </a:moveTo>
                  <a:cubicBezTo>
                    <a:pt x="64" y="153"/>
                    <a:pt x="64" y="153"/>
                    <a:pt x="64" y="153"/>
                  </a:cubicBezTo>
                  <a:moveTo>
                    <a:pt x="90" y="230"/>
                  </a:moveTo>
                  <a:cubicBezTo>
                    <a:pt x="220" y="230"/>
                    <a:pt x="220" y="230"/>
                    <a:pt x="220" y="230"/>
                  </a:cubicBezTo>
                  <a:moveTo>
                    <a:pt x="38" y="230"/>
                  </a:moveTo>
                  <a:cubicBezTo>
                    <a:pt x="64" y="230"/>
                    <a:pt x="64" y="230"/>
                    <a:pt x="64" y="230"/>
                  </a:cubicBezTo>
                </a:path>
              </a:pathLst>
            </a:custGeom>
            <a:solidFill>
              <a:srgbClr val="0078D7"/>
            </a:solidFill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7" tIns="45713" rIns="91427" bIns="45713" numCol="1" rtlCol="1" anchor="t" anchorCtr="0" compatLnSpc="1">
              <a:prstTxWarp prst="textNoShape">
                <a:avLst/>
              </a:prstTxWarp>
            </a:bodyPr>
            <a:lstStyle/>
            <a:p>
              <a:pPr algn="r" defTabSz="914225" rtl="1">
                <a:defRPr/>
              </a:pPr>
              <a:endParaRPr lang="en-US" sz="1800" ker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Right Bracket 7">
            <a:extLst>
              <a:ext uri="{FF2B5EF4-FFF2-40B4-BE49-F238E27FC236}">
                <a16:creationId xmlns:a16="http://schemas.microsoft.com/office/drawing/2014/main" xmlns="" id="{9B869D04-2B1A-4F6B-A29E-3C760F8CFEDE}"/>
              </a:ext>
            </a:extLst>
          </p:cNvPr>
          <p:cNvSpPr/>
          <p:nvPr/>
        </p:nvSpPr>
        <p:spPr>
          <a:xfrm flipH="1">
            <a:off x="10099672" y="4731808"/>
            <a:ext cx="52982" cy="656195"/>
          </a:xfrm>
          <a:prstGeom prst="rightBracket">
            <a:avLst>
              <a:gd name="adj" fmla="val 0"/>
            </a:avLst>
          </a:prstGeom>
          <a:ln w="19050">
            <a:solidFill>
              <a:schemeClr val="accent1"/>
            </a:solidFill>
            <a:prstDash val="solid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92">
              <a:defRPr/>
            </a:pP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CE2FED7C-5E8F-4B65-8F1E-EADE847AA0A3}"/>
              </a:ext>
            </a:extLst>
          </p:cNvPr>
          <p:cNvSpPr txBox="1"/>
          <p:nvPr/>
        </p:nvSpPr>
        <p:spPr>
          <a:xfrm flipH="1">
            <a:off x="10131353" y="4949901"/>
            <a:ext cx="1129569" cy="1665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914192">
              <a:lnSpc>
                <a:spcPct val="90000"/>
              </a:lnSpc>
              <a:defRPr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Dynamics 365 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xmlns="" id="{8BC9020A-E174-40D7-AA19-70041F01391C}"/>
              </a:ext>
            </a:extLst>
          </p:cNvPr>
          <p:cNvCxnSpPr>
            <a:cxnSpLocks/>
          </p:cNvCxnSpPr>
          <p:nvPr/>
        </p:nvCxnSpPr>
        <p:spPr>
          <a:xfrm flipH="1">
            <a:off x="3058097" y="3429000"/>
            <a:ext cx="756678" cy="0"/>
          </a:xfrm>
          <a:prstGeom prst="straightConnector1">
            <a:avLst/>
          </a:prstGeom>
          <a:ln w="19050">
            <a:solidFill>
              <a:schemeClr val="accent1"/>
            </a:solidFill>
            <a:prstDash val="solid"/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xmlns="" id="{C0DC708B-8D33-4856-9971-D23C8D65258F}"/>
              </a:ext>
            </a:extLst>
          </p:cNvPr>
          <p:cNvCxnSpPr>
            <a:cxnSpLocks/>
          </p:cNvCxnSpPr>
          <p:nvPr/>
        </p:nvCxnSpPr>
        <p:spPr>
          <a:xfrm>
            <a:off x="6360206" y="2438753"/>
            <a:ext cx="0" cy="4440"/>
          </a:xfrm>
          <a:prstGeom prst="straightConnector1">
            <a:avLst/>
          </a:prstGeom>
          <a:ln w="19050">
            <a:solidFill>
              <a:schemeClr val="accent1"/>
            </a:solidFill>
            <a:prstDash val="solid"/>
            <a:headEnd type="none" w="lg" len="med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9652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LZSNbO6Bj2l83FaB7qv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01</TotalTime>
  <Words>301</Words>
  <Application>Microsoft Office PowerPoint</Application>
  <PresentationFormat>Widescreen</PresentationFormat>
  <Paragraphs>71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MS PGothic</vt:lpstr>
      <vt:lpstr>Arial</vt:lpstr>
      <vt:lpstr>Calibri</vt:lpstr>
      <vt:lpstr>Calibri Light</vt:lpstr>
      <vt:lpstr>Segoe UI</vt:lpstr>
      <vt:lpstr>Segoe UI Semibold</vt:lpstr>
      <vt:lpstr>Office Theme</vt:lpstr>
      <vt:lpstr>think-cell Slide</vt:lpstr>
      <vt:lpstr>بنيه التقارير المحلية</vt:lpstr>
      <vt:lpstr>بنية التحليلات الحديثة في Azure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cy Underwood</dc:creator>
  <cp:lastModifiedBy>Shang, Yan</cp:lastModifiedBy>
  <cp:revision>9</cp:revision>
  <dcterms:created xsi:type="dcterms:W3CDTF">2021-03-09T15:21:07Z</dcterms:created>
  <dcterms:modified xsi:type="dcterms:W3CDTF">2021-07-13T08:02:21Z</dcterms:modified>
</cp:coreProperties>
</file>